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1.bin" ContentType="application/vnd.openxmlformats-officedocument.oleObject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embeddings/oleObject2.bin" ContentType="application/vnd.openxmlformats-officedocument.oleObject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7"/>
  </p:notesMasterIdLst>
  <p:sldIdLst>
    <p:sldId id="397" r:id="rId2"/>
    <p:sldId id="399" r:id="rId3"/>
    <p:sldId id="392" r:id="rId4"/>
    <p:sldId id="400" r:id="rId5"/>
    <p:sldId id="401" r:id="rId6"/>
  </p:sldIdLst>
  <p:sldSz cx="8961438" cy="6721475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6B8"/>
    <a:srgbClr val="002C46"/>
    <a:srgbClr val="FDDA95"/>
    <a:srgbClr val="FFFFFF"/>
    <a:srgbClr val="FBC14E"/>
    <a:srgbClr val="EBEEF2"/>
    <a:srgbClr val="AABFD6"/>
    <a:srgbClr val="8497B0"/>
    <a:srgbClr val="657E9D"/>
    <a:srgbClr val="2F55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0" autoAdjust="0"/>
    <p:restoredTop sz="92808" autoAdjust="0"/>
  </p:normalViewPr>
  <p:slideViewPr>
    <p:cSldViewPr snapToGrid="0">
      <p:cViewPr varScale="1">
        <p:scale>
          <a:sx n="108" d="100"/>
          <a:sy n="108" d="100"/>
        </p:scale>
        <p:origin x="-920" y="-112"/>
      </p:cViewPr>
      <p:guideLst>
        <p:guide orient="horz" pos="2117"/>
        <p:guide pos="282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8" Type="http://schemas.openxmlformats.org/officeDocument/2006/relationships/printerSettings" Target="printerSettings/printerSettings1.bin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ownloads:Southern%20Water%20Corp%20Economics%20Case%20Study%20MCU%20Student%20Facing%20MAIN%20(2)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ownloads:Southern%20Water%20Corp%20Economics%20Case%20Study%20MCU%20Student%20Facing%20MAIN%20(2)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ownloads:Southern%20Water%20Corp%20Economics%20Case%20Study%20MCU%20Student%20Facing%20MAIN%20(2)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ownloads:Southern%20Water%20Corp%20Economics%20Case%20Study%20MCU%20Student%20Facing%20MAIN%20(2)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ownloads:Southern%20Water%20Corp%20Economics%20Case%20Study%20MCU%20Student%20Facing%20MAIN%20(2)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ownloads:Southern%20Water%20Corp%20Economics%20Case%20Study%20MCU%20Student%20Facing%20MAIN%20(2)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ownloads:Southern%20Water%20Corp%20Economics%20Case%20Study%20MCU%20Student%20Facing%20MAIN%20(2)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ownloads:Southern%20Water%20Corp%20Economics%20Case%20Study%20MCU%20Student%20Facing%20MAIN%20(2)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ownloads:Southern%20Water%20Corp%20Economics%20Case%20Study%20MCU%20Student%20Facing%20MAIN%20(2)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ownloads:Southern%20Water%20Corp%20Economics%20Case%20Study%20MCU%20Student%20Facing%20MAIN%20(2)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ownloads:Southern%20Water%20Corp%20Economics%20Case%20Study%20MCU%20Student%20Facing%20MAIN%20(2)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ownloads:Southern%20Water%20Corp%20Economics%20Case%20Study%20MCU%20Student%20Facing%20MAIN%20(2)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muelade:Downloads:Southern%20Water%20Corp%20Economics%20Case%20Study%20MCU%20Student%20Facing%20MAIN%20(2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Surjek Revenue After Outage Per Quarter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Revenue After Outage</c:v>
          </c:tx>
          <c:invertIfNegative val="0"/>
          <c:dPt>
            <c:idx val="3"/>
            <c:invertIfNegative val="0"/>
            <c:bubble3D val="0"/>
            <c:spPr>
              <a:solidFill>
                <a:srgbClr val="660066"/>
              </a:solidFill>
            </c:spPr>
          </c:dPt>
          <c:dLbls>
            <c:numFmt formatCode="&quot;$&quot;#,##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What-If Analysis'!$D$60:$D$63</c:f>
              <c:strCache>
                <c:ptCount val="4"/>
                <c:pt idx="0">
                  <c:v>Q1 Outage</c:v>
                </c:pt>
                <c:pt idx="1">
                  <c:v>Q2 Outage</c:v>
                </c:pt>
                <c:pt idx="2">
                  <c:v>Q3 Outage</c:v>
                </c:pt>
                <c:pt idx="3">
                  <c:v>Q4 Outage</c:v>
                </c:pt>
              </c:strCache>
            </c:strRef>
          </c:cat>
          <c:val>
            <c:numRef>
              <c:f>'What-If Analysis'!$Q$60:$Q$63</c:f>
              <c:numCache>
                <c:formatCode>"$"#,##0.00;[Red]\-"$"#,##0.00</c:formatCode>
                <c:ptCount val="4"/>
                <c:pt idx="0">
                  <c:v>1.41675660038E8</c:v>
                </c:pt>
                <c:pt idx="1">
                  <c:v>1.53195448357E8</c:v>
                </c:pt>
                <c:pt idx="2">
                  <c:v>1.54187083641E8</c:v>
                </c:pt>
                <c:pt idx="3">
                  <c:v>1.57707855471E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575-473D-B554-292F5824E5C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-2139731128"/>
        <c:axId val="-2140122760"/>
      </c:barChart>
      <c:catAx>
        <c:axId val="-213973112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-2140122760"/>
        <c:crosses val="autoZero"/>
        <c:auto val="1"/>
        <c:lblAlgn val="ctr"/>
        <c:lblOffset val="100"/>
        <c:noMultiLvlLbl val="0"/>
      </c:catAx>
      <c:valAx>
        <c:axId val="-2140122760"/>
        <c:scaling>
          <c:orientation val="minMax"/>
        </c:scaling>
        <c:delete val="0"/>
        <c:axPos val="l"/>
        <c:majorGridlines/>
        <c:numFmt formatCode="&quot;$&quot;#,##0" sourceLinked="0"/>
        <c:majorTickMark val="none"/>
        <c:minorTickMark val="none"/>
        <c:tickLblPos val="nextTo"/>
        <c:crossAx val="-2139731128"/>
        <c:crosses val="autoZero"/>
        <c:crossBetween val="between"/>
      </c:valAx>
    </c:plotArea>
    <c:legend>
      <c:legendPos val="t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dirty="0"/>
              <a:t>Avg. Quantity Water </a:t>
            </a:r>
            <a:r>
              <a:rPr lang="en-US" sz="1200" dirty="0" err="1"/>
              <a:t>vs</a:t>
            </a:r>
            <a:r>
              <a:rPr lang="en-US" sz="1200" dirty="0"/>
              <a:t> Price</a:t>
            </a:r>
          </a:p>
          <a:p>
            <a:pPr>
              <a:defRPr/>
            </a:pPr>
            <a:r>
              <a:rPr lang="en-US" sz="1200" dirty="0"/>
              <a:t>SOFT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74562459524588"/>
          <c:y val="0.191659587496185"/>
          <c:w val="0.735521390980471"/>
          <c:h val="0.748257012158534"/>
        </c:manualLayout>
      </c:layout>
      <c:scatterChart>
        <c:scatterStyle val="lineMarker"/>
        <c:varyColors val="0"/>
        <c:ser>
          <c:idx val="0"/>
          <c:order val="0"/>
          <c:tx>
            <c:v>Avg Quantity Water</c:v>
          </c:tx>
          <c:spPr>
            <a:ln w="31750">
              <a:noFill/>
            </a:ln>
          </c:spPr>
          <c:marker>
            <c:spPr>
              <a:solidFill>
                <a:srgbClr val="0000FF"/>
              </a:solidFill>
            </c:spPr>
          </c:marker>
          <c:xVal>
            <c:numRef>
              <c:f>'Economic Market Analysis'!$C$21:$N$21</c:f>
              <c:numCache>
                <c:formatCode>"$"#,##0.00</c:formatCode>
                <c:ptCount val="12"/>
                <c:pt idx="0">
                  <c:v>62.29969904692077</c:v>
                </c:pt>
                <c:pt idx="1">
                  <c:v>63.0317767219387</c:v>
                </c:pt>
                <c:pt idx="2">
                  <c:v>52.44159438916814</c:v>
                </c:pt>
                <c:pt idx="3">
                  <c:v>51.96327849086094</c:v>
                </c:pt>
                <c:pt idx="4">
                  <c:v>49.10979825327</c:v>
                </c:pt>
                <c:pt idx="5">
                  <c:v>51.4618101515151</c:v>
                </c:pt>
                <c:pt idx="6">
                  <c:v>60.39587320788527</c:v>
                </c:pt>
                <c:pt idx="7">
                  <c:v>56.71959999185397</c:v>
                </c:pt>
                <c:pt idx="8">
                  <c:v>55.14341881313125</c:v>
                </c:pt>
                <c:pt idx="9">
                  <c:v>57.3627206989247</c:v>
                </c:pt>
                <c:pt idx="10">
                  <c:v>54.37205816197685</c:v>
                </c:pt>
                <c:pt idx="11">
                  <c:v>55.52037817693055</c:v>
                </c:pt>
              </c:numCache>
            </c:numRef>
          </c:xVal>
          <c:yVal>
            <c:numRef>
              <c:f>'Economic Market Analysis'!$C$22:$N$22</c:f>
              <c:numCache>
                <c:formatCode>#,##0.00</c:formatCode>
                <c:ptCount val="12"/>
                <c:pt idx="0">
                  <c:v>2205.004435448082</c:v>
                </c:pt>
                <c:pt idx="1">
                  <c:v>2278.914892091833</c:v>
                </c:pt>
                <c:pt idx="2">
                  <c:v>2051.884824664848</c:v>
                </c:pt>
                <c:pt idx="3">
                  <c:v>2022.085389884556</c:v>
                </c:pt>
                <c:pt idx="4">
                  <c:v>2047.98292561269</c:v>
                </c:pt>
                <c:pt idx="5">
                  <c:v>2100.184364529216</c:v>
                </c:pt>
                <c:pt idx="6">
                  <c:v>2122.835293682792</c:v>
                </c:pt>
                <c:pt idx="7">
                  <c:v>2101.269899065536</c:v>
                </c:pt>
                <c:pt idx="8">
                  <c:v>2045.343932720955</c:v>
                </c:pt>
                <c:pt idx="9">
                  <c:v>2009.187152553759</c:v>
                </c:pt>
                <c:pt idx="10">
                  <c:v>2098.421186169728</c:v>
                </c:pt>
                <c:pt idx="11">
                  <c:v>2180.798573374873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C58-4B6E-9C19-8E12D2C61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40044376"/>
        <c:axId val="-2105476920"/>
      </c:scatterChart>
      <c:valAx>
        <c:axId val="-2140044376"/>
        <c:scaling>
          <c:orientation val="minMax"/>
        </c:scaling>
        <c:delete val="0"/>
        <c:axPos val="b"/>
        <c:majorGridlines/>
        <c:numFmt formatCode="&quot;$&quot;#,##0" sourceLinked="0"/>
        <c:majorTickMark val="none"/>
        <c:minorTickMark val="none"/>
        <c:tickLblPos val="nextTo"/>
        <c:crossAx val="-2105476920"/>
        <c:crosses val="autoZero"/>
        <c:crossBetween val="midCat"/>
      </c:valAx>
      <c:valAx>
        <c:axId val="-2105476920"/>
        <c:scaling>
          <c:orientation val="minMax"/>
        </c:scaling>
        <c:delete val="0"/>
        <c:axPos val="l"/>
        <c:majorGridlines/>
        <c:numFmt formatCode="#,##0" sourceLinked="0"/>
        <c:majorTickMark val="none"/>
        <c:minorTickMark val="none"/>
        <c:tickLblPos val="nextTo"/>
        <c:crossAx val="-2140044376"/>
        <c:crosses val="autoZero"/>
        <c:crossBetween val="midCat"/>
      </c:valAx>
    </c:plotArea>
    <c:legend>
      <c:legendPos val="t"/>
      <c:layout>
        <c:manualLayout>
          <c:xMode val="edge"/>
          <c:yMode val="edge"/>
          <c:x val="0.247686176745848"/>
          <c:y val="0.093125660866944"/>
          <c:w val="0.496033155833636"/>
          <c:h val="0.045730716859324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dirty="0"/>
              <a:t>Soft Water </a:t>
            </a:r>
            <a:r>
              <a:rPr lang="en-US" sz="1200" dirty="0" smtClean="0"/>
              <a:t>Volume (low$27/high$198) </a:t>
            </a:r>
            <a:endParaRPr lang="en-US" sz="1200" dirty="0"/>
          </a:p>
        </c:rich>
      </c:tx>
      <c:layout>
        <c:manualLayout>
          <c:xMode val="edge"/>
          <c:yMode val="edge"/>
          <c:x val="0.181715445011918"/>
          <c:y val="0.0216574033739695"/>
        </c:manualLayout>
      </c:layout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v>Soft Water Volume </c:v>
          </c:tx>
          <c:spPr>
            <a:ln w="31750">
              <a:noFill/>
            </a:ln>
          </c:spPr>
          <c:marker>
            <c:spPr>
              <a:solidFill>
                <a:srgbClr val="0000FF"/>
              </a:solidFill>
            </c:spPr>
          </c:marker>
          <c:xVal>
            <c:numRef>
              <c:f>'Water Trading Repository Table'!$C$3:$C$732</c:f>
              <c:numCache>
                <c:formatCode>"$"#,##0.00</c:formatCode>
                <c:ptCount val="730"/>
                <c:pt idx="0">
                  <c:v>89.33425</c:v>
                </c:pt>
                <c:pt idx="1">
                  <c:v>61.946</c:v>
                </c:pt>
                <c:pt idx="2">
                  <c:v>45.9017499999999</c:v>
                </c:pt>
                <c:pt idx="3">
                  <c:v>80.85825</c:v>
                </c:pt>
                <c:pt idx="4">
                  <c:v>55.9618333333333</c:v>
                </c:pt>
                <c:pt idx="5">
                  <c:v>101.094833333333</c:v>
                </c:pt>
                <c:pt idx="6">
                  <c:v>26.665</c:v>
                </c:pt>
                <c:pt idx="7">
                  <c:v>38.8945454545454</c:v>
                </c:pt>
                <c:pt idx="8">
                  <c:v>46.715</c:v>
                </c:pt>
                <c:pt idx="9">
                  <c:v>46.2086363636363</c:v>
                </c:pt>
                <c:pt idx="10">
                  <c:v>41.856</c:v>
                </c:pt>
                <c:pt idx="11">
                  <c:v>46.0137499999999</c:v>
                </c:pt>
                <c:pt idx="12">
                  <c:v>34.894375</c:v>
                </c:pt>
                <c:pt idx="13">
                  <c:v>53.3129166666666</c:v>
                </c:pt>
                <c:pt idx="14">
                  <c:v>70.3070833333333</c:v>
                </c:pt>
                <c:pt idx="15">
                  <c:v>64.5529166666666</c:v>
                </c:pt>
                <c:pt idx="16">
                  <c:v>49.77625</c:v>
                </c:pt>
                <c:pt idx="17">
                  <c:v>61.4833333333333</c:v>
                </c:pt>
                <c:pt idx="18">
                  <c:v>56.4070833333333</c:v>
                </c:pt>
                <c:pt idx="19">
                  <c:v>69.81375</c:v>
                </c:pt>
                <c:pt idx="20">
                  <c:v>53.6095833333333</c:v>
                </c:pt>
                <c:pt idx="21">
                  <c:v>53.2916666666666</c:v>
                </c:pt>
                <c:pt idx="22">
                  <c:v>53.8445833333333</c:v>
                </c:pt>
                <c:pt idx="23">
                  <c:v>53.3479166666666</c:v>
                </c:pt>
                <c:pt idx="24">
                  <c:v>55.7121666666666</c:v>
                </c:pt>
                <c:pt idx="25">
                  <c:v>66.45083333333331</c:v>
                </c:pt>
                <c:pt idx="26">
                  <c:v>78.9985833333333</c:v>
                </c:pt>
                <c:pt idx="27">
                  <c:v>159.797333333333</c:v>
                </c:pt>
                <c:pt idx="28">
                  <c:v>108.421</c:v>
                </c:pt>
                <c:pt idx="29">
                  <c:v>132.914</c:v>
                </c:pt>
                <c:pt idx="30">
                  <c:v>68.8665833333333</c:v>
                </c:pt>
                <c:pt idx="31">
                  <c:v>50.4875</c:v>
                </c:pt>
                <c:pt idx="32">
                  <c:v>47.1818333333333</c:v>
                </c:pt>
                <c:pt idx="33">
                  <c:v>43.9378333333333</c:v>
                </c:pt>
                <c:pt idx="34">
                  <c:v>50.634125</c:v>
                </c:pt>
                <c:pt idx="35">
                  <c:v>50.1071666666666</c:v>
                </c:pt>
                <c:pt idx="36">
                  <c:v>43.7679999999999</c:v>
                </c:pt>
                <c:pt idx="37">
                  <c:v>72.0318333333333</c:v>
                </c:pt>
                <c:pt idx="38">
                  <c:v>44.5263333333333</c:v>
                </c:pt>
                <c:pt idx="39">
                  <c:v>65.8818333333333</c:v>
                </c:pt>
                <c:pt idx="40">
                  <c:v>47.2516666666666</c:v>
                </c:pt>
                <c:pt idx="41">
                  <c:v>63.3381666666666</c:v>
                </c:pt>
                <c:pt idx="42">
                  <c:v>49.39425</c:v>
                </c:pt>
                <c:pt idx="43">
                  <c:v>77.9152499999999</c:v>
                </c:pt>
                <c:pt idx="44">
                  <c:v>48.65125</c:v>
                </c:pt>
                <c:pt idx="45">
                  <c:v>59.6629166666666</c:v>
                </c:pt>
                <c:pt idx="46">
                  <c:v>44.107909090909</c:v>
                </c:pt>
                <c:pt idx="47">
                  <c:v>45.83875</c:v>
                </c:pt>
                <c:pt idx="48">
                  <c:v>51.1445833333333</c:v>
                </c:pt>
                <c:pt idx="49">
                  <c:v>73.9905</c:v>
                </c:pt>
                <c:pt idx="50">
                  <c:v>49.5535833333333</c:v>
                </c:pt>
                <c:pt idx="51">
                  <c:v>69.31841666666659</c:v>
                </c:pt>
                <c:pt idx="52">
                  <c:v>59.5356666666666</c:v>
                </c:pt>
                <c:pt idx="53">
                  <c:v>87.515</c:v>
                </c:pt>
                <c:pt idx="54">
                  <c:v>47.82025</c:v>
                </c:pt>
                <c:pt idx="55">
                  <c:v>70.2178333333333</c:v>
                </c:pt>
                <c:pt idx="56">
                  <c:v>63.7313333333333</c:v>
                </c:pt>
                <c:pt idx="57">
                  <c:v>81.9909166666666</c:v>
                </c:pt>
                <c:pt idx="58">
                  <c:v>60.9058333333333</c:v>
                </c:pt>
                <c:pt idx="59">
                  <c:v>73.40933333333329</c:v>
                </c:pt>
                <c:pt idx="60">
                  <c:v>48.4906666666666</c:v>
                </c:pt>
                <c:pt idx="61">
                  <c:v>92.9889999999999</c:v>
                </c:pt>
                <c:pt idx="62">
                  <c:v>56.50075</c:v>
                </c:pt>
                <c:pt idx="63">
                  <c:v>66.6379166666666</c:v>
                </c:pt>
                <c:pt idx="64">
                  <c:v>41.8456666666666</c:v>
                </c:pt>
                <c:pt idx="65">
                  <c:v>86.52533333333329</c:v>
                </c:pt>
                <c:pt idx="66">
                  <c:v>58.5831666666666</c:v>
                </c:pt>
                <c:pt idx="67">
                  <c:v>60.7729166666666</c:v>
                </c:pt>
                <c:pt idx="68">
                  <c:v>42.9464285714285</c:v>
                </c:pt>
                <c:pt idx="69">
                  <c:v>55.4691666666666</c:v>
                </c:pt>
                <c:pt idx="70">
                  <c:v>48.9171428571428</c:v>
                </c:pt>
                <c:pt idx="71">
                  <c:v>45.3404166666666</c:v>
                </c:pt>
                <c:pt idx="72">
                  <c:v>39.4445833333333</c:v>
                </c:pt>
                <c:pt idx="73">
                  <c:v>43.4825</c:v>
                </c:pt>
                <c:pt idx="74">
                  <c:v>42.50875</c:v>
                </c:pt>
                <c:pt idx="75">
                  <c:v>53.6637499999999</c:v>
                </c:pt>
                <c:pt idx="76">
                  <c:v>66.76125</c:v>
                </c:pt>
                <c:pt idx="77">
                  <c:v>61.3454166666666</c:v>
                </c:pt>
                <c:pt idx="78">
                  <c:v>67.13875</c:v>
                </c:pt>
                <c:pt idx="79">
                  <c:v>76.0045833333333</c:v>
                </c:pt>
                <c:pt idx="80">
                  <c:v>43.4158333333333</c:v>
                </c:pt>
                <c:pt idx="81">
                  <c:v>49.0375</c:v>
                </c:pt>
                <c:pt idx="82">
                  <c:v>37.9716666666666</c:v>
                </c:pt>
                <c:pt idx="83">
                  <c:v>50.85375</c:v>
                </c:pt>
                <c:pt idx="84">
                  <c:v>45.6304166666666</c:v>
                </c:pt>
                <c:pt idx="85">
                  <c:v>44.035</c:v>
                </c:pt>
                <c:pt idx="86">
                  <c:v>174.000916666666</c:v>
                </c:pt>
                <c:pt idx="87">
                  <c:v>187.01125</c:v>
                </c:pt>
                <c:pt idx="88">
                  <c:v>62.7718333333333</c:v>
                </c:pt>
                <c:pt idx="89">
                  <c:v>63.74125</c:v>
                </c:pt>
                <c:pt idx="90">
                  <c:v>53.0446666666666</c:v>
                </c:pt>
                <c:pt idx="91">
                  <c:v>68.5991666666666</c:v>
                </c:pt>
                <c:pt idx="92">
                  <c:v>49.8786666666666</c:v>
                </c:pt>
                <c:pt idx="93">
                  <c:v>83.3418333333333</c:v>
                </c:pt>
                <c:pt idx="94">
                  <c:v>48.2404166666666</c:v>
                </c:pt>
                <c:pt idx="95">
                  <c:v>40.6566666666666</c:v>
                </c:pt>
                <c:pt idx="96">
                  <c:v>34.2363</c:v>
                </c:pt>
                <c:pt idx="97">
                  <c:v>41.783</c:v>
                </c:pt>
                <c:pt idx="98">
                  <c:v>38.522625</c:v>
                </c:pt>
                <c:pt idx="99">
                  <c:v>66.54175</c:v>
                </c:pt>
                <c:pt idx="100">
                  <c:v>46.5254166666666</c:v>
                </c:pt>
                <c:pt idx="101">
                  <c:v>153.26475</c:v>
                </c:pt>
                <c:pt idx="102">
                  <c:v>58.4922499999999</c:v>
                </c:pt>
                <c:pt idx="103">
                  <c:v>102.680583333333</c:v>
                </c:pt>
                <c:pt idx="104">
                  <c:v>60.4286666666666</c:v>
                </c:pt>
                <c:pt idx="105">
                  <c:v>44.07575</c:v>
                </c:pt>
                <c:pt idx="106">
                  <c:v>41.51825</c:v>
                </c:pt>
                <c:pt idx="107">
                  <c:v>53.703</c:v>
                </c:pt>
                <c:pt idx="108">
                  <c:v>48.4851666666666</c:v>
                </c:pt>
                <c:pt idx="109">
                  <c:v>51.2385</c:v>
                </c:pt>
                <c:pt idx="110">
                  <c:v>45.216</c:v>
                </c:pt>
                <c:pt idx="111">
                  <c:v>80.2231666666666</c:v>
                </c:pt>
                <c:pt idx="112">
                  <c:v>59.2688333333333</c:v>
                </c:pt>
                <c:pt idx="113">
                  <c:v>122.024166666666</c:v>
                </c:pt>
                <c:pt idx="114">
                  <c:v>52.3751666666666</c:v>
                </c:pt>
                <c:pt idx="115">
                  <c:v>86.0031666666666</c:v>
                </c:pt>
                <c:pt idx="116">
                  <c:v>46.1484166666666</c:v>
                </c:pt>
                <c:pt idx="117">
                  <c:v>80.90525</c:v>
                </c:pt>
                <c:pt idx="118">
                  <c:v>69.3946666666666</c:v>
                </c:pt>
                <c:pt idx="119">
                  <c:v>52.2005</c:v>
                </c:pt>
                <c:pt idx="120">
                  <c:v>51.4696666666666</c:v>
                </c:pt>
                <c:pt idx="121">
                  <c:v>80.4570833333333</c:v>
                </c:pt>
                <c:pt idx="122">
                  <c:v>63.776</c:v>
                </c:pt>
                <c:pt idx="123">
                  <c:v>79.9641666666666</c:v>
                </c:pt>
                <c:pt idx="124">
                  <c:v>48.1491666666666</c:v>
                </c:pt>
                <c:pt idx="125">
                  <c:v>72.47625</c:v>
                </c:pt>
                <c:pt idx="126">
                  <c:v>50.1383333333333</c:v>
                </c:pt>
                <c:pt idx="127">
                  <c:v>43.4670833333333</c:v>
                </c:pt>
                <c:pt idx="128">
                  <c:v>35.8283333333333</c:v>
                </c:pt>
                <c:pt idx="129">
                  <c:v>44.2408333333333</c:v>
                </c:pt>
                <c:pt idx="130">
                  <c:v>48.47625</c:v>
                </c:pt>
                <c:pt idx="131">
                  <c:v>64.3920833333333</c:v>
                </c:pt>
                <c:pt idx="132">
                  <c:v>57.5066666666666</c:v>
                </c:pt>
                <c:pt idx="133">
                  <c:v>60.60125</c:v>
                </c:pt>
                <c:pt idx="134">
                  <c:v>59.6954166666666</c:v>
                </c:pt>
                <c:pt idx="135">
                  <c:v>63.4149999999999</c:v>
                </c:pt>
                <c:pt idx="136">
                  <c:v>40.5864285714285</c:v>
                </c:pt>
                <c:pt idx="137">
                  <c:v>51.2125</c:v>
                </c:pt>
                <c:pt idx="138">
                  <c:v>32.0704545454545</c:v>
                </c:pt>
                <c:pt idx="139">
                  <c:v>57.2349999999999</c:v>
                </c:pt>
                <c:pt idx="140">
                  <c:v>40.7399999999999</c:v>
                </c:pt>
                <c:pt idx="141">
                  <c:v>46.8758333333333</c:v>
                </c:pt>
                <c:pt idx="142">
                  <c:v>35.6323636363636</c:v>
                </c:pt>
                <c:pt idx="143">
                  <c:v>49.2004166666666</c:v>
                </c:pt>
                <c:pt idx="144">
                  <c:v>50.58075</c:v>
                </c:pt>
                <c:pt idx="145">
                  <c:v>47.9710909090909</c:v>
                </c:pt>
                <c:pt idx="146">
                  <c:v>56.9445</c:v>
                </c:pt>
                <c:pt idx="147">
                  <c:v>55.5179166666666</c:v>
                </c:pt>
                <c:pt idx="148">
                  <c:v>42.7791428571428</c:v>
                </c:pt>
                <c:pt idx="149">
                  <c:v>50.0963333333333</c:v>
                </c:pt>
                <c:pt idx="150">
                  <c:v>56.7529999999999</c:v>
                </c:pt>
                <c:pt idx="151">
                  <c:v>62.2336666666666</c:v>
                </c:pt>
                <c:pt idx="152">
                  <c:v>58.3765833333333</c:v>
                </c:pt>
                <c:pt idx="153">
                  <c:v>76.4461666666666</c:v>
                </c:pt>
                <c:pt idx="154">
                  <c:v>59.41725</c:v>
                </c:pt>
                <c:pt idx="155">
                  <c:v>77.6890833333333</c:v>
                </c:pt>
                <c:pt idx="156">
                  <c:v>60.7068333333333</c:v>
                </c:pt>
                <c:pt idx="157">
                  <c:v>54.0755</c:v>
                </c:pt>
                <c:pt idx="158">
                  <c:v>58.0740909090909</c:v>
                </c:pt>
                <c:pt idx="159">
                  <c:v>58.9476666666666</c:v>
                </c:pt>
                <c:pt idx="160">
                  <c:v>50.5504444444444</c:v>
                </c:pt>
                <c:pt idx="161">
                  <c:v>54.70925</c:v>
                </c:pt>
                <c:pt idx="162">
                  <c:v>44.05525</c:v>
                </c:pt>
                <c:pt idx="163">
                  <c:v>52.3754</c:v>
                </c:pt>
                <c:pt idx="164">
                  <c:v>56.051</c:v>
                </c:pt>
                <c:pt idx="165">
                  <c:v>49.2473636363636</c:v>
                </c:pt>
                <c:pt idx="166">
                  <c:v>51.720125</c:v>
                </c:pt>
                <c:pt idx="167">
                  <c:v>58.3611666666666</c:v>
                </c:pt>
                <c:pt idx="168">
                  <c:v>39.4937142857142</c:v>
                </c:pt>
                <c:pt idx="169">
                  <c:v>49.29875</c:v>
                </c:pt>
                <c:pt idx="170">
                  <c:v>56.9209166666666</c:v>
                </c:pt>
                <c:pt idx="171">
                  <c:v>47.4555</c:v>
                </c:pt>
                <c:pt idx="172">
                  <c:v>35.9698888888888</c:v>
                </c:pt>
                <c:pt idx="173">
                  <c:v>42.9447777777777</c:v>
                </c:pt>
                <c:pt idx="174">
                  <c:v>36.92225</c:v>
                </c:pt>
                <c:pt idx="175">
                  <c:v>36.5463333333333</c:v>
                </c:pt>
                <c:pt idx="176">
                  <c:v>37.1244</c:v>
                </c:pt>
                <c:pt idx="177">
                  <c:v>42.9416666666666</c:v>
                </c:pt>
                <c:pt idx="178">
                  <c:v>31.9459999999999</c:v>
                </c:pt>
                <c:pt idx="179">
                  <c:v>50.9333333333333</c:v>
                </c:pt>
                <c:pt idx="180">
                  <c:v>53.7143</c:v>
                </c:pt>
                <c:pt idx="181">
                  <c:v>50.4933333333333</c:v>
                </c:pt>
                <c:pt idx="182">
                  <c:v>63.0670833333333</c:v>
                </c:pt>
                <c:pt idx="183">
                  <c:v>78.3205833333333</c:v>
                </c:pt>
                <c:pt idx="184">
                  <c:v>62.1805833333333</c:v>
                </c:pt>
                <c:pt idx="185">
                  <c:v>60.06025</c:v>
                </c:pt>
                <c:pt idx="186">
                  <c:v>45.0175</c:v>
                </c:pt>
                <c:pt idx="187">
                  <c:v>79.7666666666666</c:v>
                </c:pt>
                <c:pt idx="188">
                  <c:v>40.5616666666666</c:v>
                </c:pt>
                <c:pt idx="189">
                  <c:v>47.8218181818181</c:v>
                </c:pt>
                <c:pt idx="190">
                  <c:v>43.1745833333333</c:v>
                </c:pt>
                <c:pt idx="191">
                  <c:v>54.1766666666666</c:v>
                </c:pt>
                <c:pt idx="192">
                  <c:v>49.4054166666666</c:v>
                </c:pt>
                <c:pt idx="193">
                  <c:v>73.72958333333329</c:v>
                </c:pt>
                <c:pt idx="194">
                  <c:v>44.0149999999999</c:v>
                </c:pt>
                <c:pt idx="195">
                  <c:v>51.4095833333333</c:v>
                </c:pt>
                <c:pt idx="196">
                  <c:v>47.1545833333333</c:v>
                </c:pt>
                <c:pt idx="197">
                  <c:v>65.5254166666666</c:v>
                </c:pt>
                <c:pt idx="198">
                  <c:v>61.5183333333333</c:v>
                </c:pt>
                <c:pt idx="199">
                  <c:v>79.88375000000001</c:v>
                </c:pt>
                <c:pt idx="200">
                  <c:v>53.2337499999999</c:v>
                </c:pt>
                <c:pt idx="201">
                  <c:v>88.895</c:v>
                </c:pt>
                <c:pt idx="202">
                  <c:v>28.6485</c:v>
                </c:pt>
                <c:pt idx="203">
                  <c:v>44.7929166666666</c:v>
                </c:pt>
                <c:pt idx="204">
                  <c:v>47.22625</c:v>
                </c:pt>
                <c:pt idx="205">
                  <c:v>49.3720833333333</c:v>
                </c:pt>
                <c:pt idx="206">
                  <c:v>51.4916666666666</c:v>
                </c:pt>
                <c:pt idx="207">
                  <c:v>53.55</c:v>
                </c:pt>
                <c:pt idx="208">
                  <c:v>52.5641666666666</c:v>
                </c:pt>
                <c:pt idx="209">
                  <c:v>56.3049999999999</c:v>
                </c:pt>
                <c:pt idx="210">
                  <c:v>50.9929166666666</c:v>
                </c:pt>
                <c:pt idx="211">
                  <c:v>54.9929166666666</c:v>
                </c:pt>
                <c:pt idx="212">
                  <c:v>50.9091666666666</c:v>
                </c:pt>
                <c:pt idx="213">
                  <c:v>50.2333333333333</c:v>
                </c:pt>
                <c:pt idx="214">
                  <c:v>45.06</c:v>
                </c:pt>
                <c:pt idx="215">
                  <c:v>48.6995833333333</c:v>
                </c:pt>
                <c:pt idx="216">
                  <c:v>48.7583333333333</c:v>
                </c:pt>
                <c:pt idx="217">
                  <c:v>48.1683333333333</c:v>
                </c:pt>
                <c:pt idx="218">
                  <c:v>50.2616666666666</c:v>
                </c:pt>
                <c:pt idx="219">
                  <c:v>47.7983333333333</c:v>
                </c:pt>
                <c:pt idx="220">
                  <c:v>49.2441666666666</c:v>
                </c:pt>
                <c:pt idx="221">
                  <c:v>50.7345833333333</c:v>
                </c:pt>
                <c:pt idx="222">
                  <c:v>53.69</c:v>
                </c:pt>
                <c:pt idx="223">
                  <c:v>53.2716666666666</c:v>
                </c:pt>
                <c:pt idx="224">
                  <c:v>49.4508333333333</c:v>
                </c:pt>
                <c:pt idx="225">
                  <c:v>52.0591666666666</c:v>
                </c:pt>
                <c:pt idx="226">
                  <c:v>37.89</c:v>
                </c:pt>
                <c:pt idx="227">
                  <c:v>45.8166666666666</c:v>
                </c:pt>
                <c:pt idx="228">
                  <c:v>36.7570833333333</c:v>
                </c:pt>
                <c:pt idx="229">
                  <c:v>44.2145833333333</c:v>
                </c:pt>
                <c:pt idx="230">
                  <c:v>49.3845833333333</c:v>
                </c:pt>
                <c:pt idx="231">
                  <c:v>48.0804166666666</c:v>
                </c:pt>
                <c:pt idx="232">
                  <c:v>52.4695833333333</c:v>
                </c:pt>
                <c:pt idx="233">
                  <c:v>53.4029166666666</c:v>
                </c:pt>
                <c:pt idx="234">
                  <c:v>39.44625</c:v>
                </c:pt>
                <c:pt idx="235">
                  <c:v>47.9633333333333</c:v>
                </c:pt>
                <c:pt idx="236">
                  <c:v>42.5022222222222</c:v>
                </c:pt>
                <c:pt idx="237">
                  <c:v>44.9416666666666</c:v>
                </c:pt>
                <c:pt idx="238">
                  <c:v>45.2042857142857</c:v>
                </c:pt>
                <c:pt idx="239">
                  <c:v>48.3220833333333</c:v>
                </c:pt>
                <c:pt idx="240">
                  <c:v>44.1816666666666</c:v>
                </c:pt>
                <c:pt idx="241">
                  <c:v>79.2887272727272</c:v>
                </c:pt>
                <c:pt idx="242">
                  <c:v>51.94125</c:v>
                </c:pt>
                <c:pt idx="243">
                  <c:v>49.0996666666666</c:v>
                </c:pt>
                <c:pt idx="244">
                  <c:v>66.7433333333333</c:v>
                </c:pt>
                <c:pt idx="245">
                  <c:v>59.95325</c:v>
                </c:pt>
                <c:pt idx="246">
                  <c:v>48.0525</c:v>
                </c:pt>
                <c:pt idx="247">
                  <c:v>43.4133333333333</c:v>
                </c:pt>
                <c:pt idx="248">
                  <c:v>41.1374999999999</c:v>
                </c:pt>
                <c:pt idx="249">
                  <c:v>54.3541666666666</c:v>
                </c:pt>
                <c:pt idx="250">
                  <c:v>50.5133333333333</c:v>
                </c:pt>
                <c:pt idx="251">
                  <c:v>59.3216666666666</c:v>
                </c:pt>
                <c:pt idx="252">
                  <c:v>70.6241666666666</c:v>
                </c:pt>
                <c:pt idx="253">
                  <c:v>75.6508333333333</c:v>
                </c:pt>
                <c:pt idx="254">
                  <c:v>48.5474999999999</c:v>
                </c:pt>
                <c:pt idx="255">
                  <c:v>45.3508333333333</c:v>
                </c:pt>
                <c:pt idx="256">
                  <c:v>47.2908333333333</c:v>
                </c:pt>
                <c:pt idx="257">
                  <c:v>60.9354166666666</c:v>
                </c:pt>
                <c:pt idx="258">
                  <c:v>60.8879166666666</c:v>
                </c:pt>
                <c:pt idx="259">
                  <c:v>73.6945833333333</c:v>
                </c:pt>
                <c:pt idx="260">
                  <c:v>57.9958333333333</c:v>
                </c:pt>
                <c:pt idx="261">
                  <c:v>49.68125</c:v>
                </c:pt>
                <c:pt idx="262">
                  <c:v>28.8027777777777</c:v>
                </c:pt>
                <c:pt idx="263">
                  <c:v>57.8879166666666</c:v>
                </c:pt>
                <c:pt idx="264">
                  <c:v>34.658125</c:v>
                </c:pt>
                <c:pt idx="265">
                  <c:v>42.6458333333333</c:v>
                </c:pt>
                <c:pt idx="266">
                  <c:v>38.7508333333333</c:v>
                </c:pt>
                <c:pt idx="267">
                  <c:v>44.8320833333333</c:v>
                </c:pt>
                <c:pt idx="268">
                  <c:v>37.4038888888888</c:v>
                </c:pt>
                <c:pt idx="269">
                  <c:v>46.27625</c:v>
                </c:pt>
                <c:pt idx="270">
                  <c:v>37.74875</c:v>
                </c:pt>
                <c:pt idx="271">
                  <c:v>46.2620833333333</c:v>
                </c:pt>
                <c:pt idx="272">
                  <c:v>39.8790909090909</c:v>
                </c:pt>
                <c:pt idx="273">
                  <c:v>47.3729166666666</c:v>
                </c:pt>
                <c:pt idx="274">
                  <c:v>40.5581818181818</c:v>
                </c:pt>
                <c:pt idx="275">
                  <c:v>53.5504166666666</c:v>
                </c:pt>
                <c:pt idx="276">
                  <c:v>47.15375</c:v>
                </c:pt>
                <c:pt idx="277">
                  <c:v>54.6083333333333</c:v>
                </c:pt>
                <c:pt idx="278">
                  <c:v>50.1270833333333</c:v>
                </c:pt>
                <c:pt idx="279">
                  <c:v>49.5308333333333</c:v>
                </c:pt>
                <c:pt idx="280">
                  <c:v>38.4625</c:v>
                </c:pt>
                <c:pt idx="281">
                  <c:v>47.2754166666666</c:v>
                </c:pt>
                <c:pt idx="282">
                  <c:v>45.8325</c:v>
                </c:pt>
                <c:pt idx="283">
                  <c:v>50.7429166666666</c:v>
                </c:pt>
                <c:pt idx="284">
                  <c:v>46.2624999999999</c:v>
                </c:pt>
                <c:pt idx="285">
                  <c:v>49.195</c:v>
                </c:pt>
                <c:pt idx="286">
                  <c:v>37.2570833333333</c:v>
                </c:pt>
                <c:pt idx="287">
                  <c:v>43.0333333333333</c:v>
                </c:pt>
                <c:pt idx="288">
                  <c:v>39.8964285714285</c:v>
                </c:pt>
                <c:pt idx="289">
                  <c:v>53.0875</c:v>
                </c:pt>
                <c:pt idx="290">
                  <c:v>44.0025</c:v>
                </c:pt>
                <c:pt idx="291">
                  <c:v>50.5866666666666</c:v>
                </c:pt>
                <c:pt idx="292">
                  <c:v>46.0270833333333</c:v>
                </c:pt>
                <c:pt idx="293">
                  <c:v>51.3929166666666</c:v>
                </c:pt>
                <c:pt idx="294">
                  <c:v>46.5908333333333</c:v>
                </c:pt>
                <c:pt idx="295">
                  <c:v>54.30375</c:v>
                </c:pt>
                <c:pt idx="296">
                  <c:v>45.06875</c:v>
                </c:pt>
                <c:pt idx="297">
                  <c:v>42.70625</c:v>
                </c:pt>
                <c:pt idx="298">
                  <c:v>35.2055555555555</c:v>
                </c:pt>
                <c:pt idx="299">
                  <c:v>49.2208333333333</c:v>
                </c:pt>
                <c:pt idx="300">
                  <c:v>42.534375</c:v>
                </c:pt>
                <c:pt idx="301">
                  <c:v>49.4140909090909</c:v>
                </c:pt>
                <c:pt idx="302">
                  <c:v>53.5806999999999</c:v>
                </c:pt>
                <c:pt idx="303">
                  <c:v>84.9220833333333</c:v>
                </c:pt>
                <c:pt idx="304">
                  <c:v>39.3469999999999</c:v>
                </c:pt>
                <c:pt idx="305">
                  <c:v>43.3159166666666</c:v>
                </c:pt>
                <c:pt idx="306">
                  <c:v>47.9022222222222</c:v>
                </c:pt>
                <c:pt idx="307">
                  <c:v>54.9801666666666</c:v>
                </c:pt>
                <c:pt idx="308">
                  <c:v>35.0899999999999</c:v>
                </c:pt>
                <c:pt idx="309">
                  <c:v>41.2283333333333</c:v>
                </c:pt>
                <c:pt idx="310">
                  <c:v>48.4129166666666</c:v>
                </c:pt>
                <c:pt idx="311">
                  <c:v>49.2199999999999</c:v>
                </c:pt>
                <c:pt idx="312">
                  <c:v>51.0470833333333</c:v>
                </c:pt>
                <c:pt idx="313">
                  <c:v>53.3279166666666</c:v>
                </c:pt>
                <c:pt idx="314">
                  <c:v>46.8425</c:v>
                </c:pt>
                <c:pt idx="315">
                  <c:v>56.6724999999999</c:v>
                </c:pt>
                <c:pt idx="316">
                  <c:v>42.86</c:v>
                </c:pt>
                <c:pt idx="317">
                  <c:v>53.1808333333333</c:v>
                </c:pt>
                <c:pt idx="318">
                  <c:v>40.8270833333333</c:v>
                </c:pt>
                <c:pt idx="319">
                  <c:v>51.91625</c:v>
                </c:pt>
                <c:pt idx="320">
                  <c:v>58.3075</c:v>
                </c:pt>
                <c:pt idx="321">
                  <c:v>79.13374999999991</c:v>
                </c:pt>
                <c:pt idx="322">
                  <c:v>52.4974999999999</c:v>
                </c:pt>
                <c:pt idx="323">
                  <c:v>47.9629166666666</c:v>
                </c:pt>
                <c:pt idx="324">
                  <c:v>62.5412499999999</c:v>
                </c:pt>
                <c:pt idx="325">
                  <c:v>79.1875</c:v>
                </c:pt>
                <c:pt idx="326">
                  <c:v>38.7470833333333</c:v>
                </c:pt>
                <c:pt idx="327">
                  <c:v>49.4170833333333</c:v>
                </c:pt>
                <c:pt idx="328">
                  <c:v>41.0108333333333</c:v>
                </c:pt>
                <c:pt idx="329">
                  <c:v>48.9662499999999</c:v>
                </c:pt>
                <c:pt idx="330">
                  <c:v>46.8566666666666</c:v>
                </c:pt>
                <c:pt idx="331">
                  <c:v>60.0674999999999</c:v>
                </c:pt>
                <c:pt idx="332">
                  <c:v>46.4858333333333</c:v>
                </c:pt>
                <c:pt idx="333">
                  <c:v>63.3799999999999</c:v>
                </c:pt>
                <c:pt idx="334">
                  <c:v>56.7758333333333</c:v>
                </c:pt>
                <c:pt idx="335">
                  <c:v>71.7616666666666</c:v>
                </c:pt>
                <c:pt idx="336">
                  <c:v>57.2154166666666</c:v>
                </c:pt>
                <c:pt idx="337">
                  <c:v>72.0716666666666</c:v>
                </c:pt>
                <c:pt idx="338">
                  <c:v>55.7891666666666</c:v>
                </c:pt>
                <c:pt idx="339">
                  <c:v>57.0787499999999</c:v>
                </c:pt>
                <c:pt idx="340">
                  <c:v>52.03875</c:v>
                </c:pt>
                <c:pt idx="341">
                  <c:v>57.935</c:v>
                </c:pt>
                <c:pt idx="342">
                  <c:v>38.5311111111111</c:v>
                </c:pt>
                <c:pt idx="343">
                  <c:v>51.3004166666666</c:v>
                </c:pt>
                <c:pt idx="344">
                  <c:v>35.748125</c:v>
                </c:pt>
                <c:pt idx="345">
                  <c:v>43.7841666666666</c:v>
                </c:pt>
                <c:pt idx="346">
                  <c:v>32.951</c:v>
                </c:pt>
                <c:pt idx="347">
                  <c:v>45.6595833333333</c:v>
                </c:pt>
                <c:pt idx="348">
                  <c:v>42.175909090909</c:v>
                </c:pt>
                <c:pt idx="349">
                  <c:v>45.81875</c:v>
                </c:pt>
                <c:pt idx="350">
                  <c:v>45.18125</c:v>
                </c:pt>
                <c:pt idx="351">
                  <c:v>59.6508333333333</c:v>
                </c:pt>
                <c:pt idx="352">
                  <c:v>53.0899999999999</c:v>
                </c:pt>
                <c:pt idx="353">
                  <c:v>59.6241666666666</c:v>
                </c:pt>
                <c:pt idx="354">
                  <c:v>52.5408333333333</c:v>
                </c:pt>
                <c:pt idx="355">
                  <c:v>52.7066666666666</c:v>
                </c:pt>
                <c:pt idx="356">
                  <c:v>50.46625</c:v>
                </c:pt>
                <c:pt idx="357">
                  <c:v>57.7133333333333</c:v>
                </c:pt>
                <c:pt idx="358">
                  <c:v>33.4791666666666</c:v>
                </c:pt>
                <c:pt idx="359">
                  <c:v>48.625</c:v>
                </c:pt>
                <c:pt idx="360">
                  <c:v>34.729375</c:v>
                </c:pt>
                <c:pt idx="361">
                  <c:v>54.0312499999999</c:v>
                </c:pt>
                <c:pt idx="362">
                  <c:v>80.35550000000001</c:v>
                </c:pt>
                <c:pt idx="363">
                  <c:v>197.626916666666</c:v>
                </c:pt>
                <c:pt idx="364">
                  <c:v>38.4015</c:v>
                </c:pt>
                <c:pt idx="365">
                  <c:v>43.8649166666666</c:v>
                </c:pt>
                <c:pt idx="366">
                  <c:v>44.8295</c:v>
                </c:pt>
                <c:pt idx="367">
                  <c:v>61.38075</c:v>
                </c:pt>
                <c:pt idx="368">
                  <c:v>26.1074999999999</c:v>
                </c:pt>
                <c:pt idx="369">
                  <c:v>45.7833333333333</c:v>
                </c:pt>
                <c:pt idx="370">
                  <c:v>51.35375</c:v>
                </c:pt>
                <c:pt idx="371">
                  <c:v>42.387</c:v>
                </c:pt>
                <c:pt idx="372">
                  <c:v>52.655</c:v>
                </c:pt>
                <c:pt idx="373">
                  <c:v>53.0366666666666</c:v>
                </c:pt>
                <c:pt idx="374">
                  <c:v>36.6645833333333</c:v>
                </c:pt>
                <c:pt idx="375">
                  <c:v>70.0175</c:v>
                </c:pt>
                <c:pt idx="376">
                  <c:v>45.7370833333333</c:v>
                </c:pt>
                <c:pt idx="377">
                  <c:v>47.9529166666666</c:v>
                </c:pt>
                <c:pt idx="378">
                  <c:v>48.6433333333333</c:v>
                </c:pt>
                <c:pt idx="379">
                  <c:v>53.9433333333333</c:v>
                </c:pt>
                <c:pt idx="380">
                  <c:v>78.1541666666666</c:v>
                </c:pt>
                <c:pt idx="381">
                  <c:v>72.4779166666666</c:v>
                </c:pt>
                <c:pt idx="382">
                  <c:v>43.2433333333333</c:v>
                </c:pt>
                <c:pt idx="383">
                  <c:v>67.4620833333333</c:v>
                </c:pt>
                <c:pt idx="384">
                  <c:v>50.9333333333333</c:v>
                </c:pt>
                <c:pt idx="385">
                  <c:v>50.8608333333333</c:v>
                </c:pt>
                <c:pt idx="386">
                  <c:v>46.8145833333333</c:v>
                </c:pt>
                <c:pt idx="387">
                  <c:v>65.9670833333333</c:v>
                </c:pt>
                <c:pt idx="388">
                  <c:v>52.4625</c:v>
                </c:pt>
                <c:pt idx="389">
                  <c:v>67.15375</c:v>
                </c:pt>
                <c:pt idx="390">
                  <c:v>57.93625</c:v>
                </c:pt>
                <c:pt idx="391">
                  <c:v>59.9316666666666</c:v>
                </c:pt>
                <c:pt idx="392">
                  <c:v>60.7225</c:v>
                </c:pt>
                <c:pt idx="393">
                  <c:v>59.85625</c:v>
                </c:pt>
                <c:pt idx="394">
                  <c:v>51.8199999999999</c:v>
                </c:pt>
                <c:pt idx="395">
                  <c:v>76.1416666666666</c:v>
                </c:pt>
                <c:pt idx="396">
                  <c:v>66.975</c:v>
                </c:pt>
                <c:pt idx="397">
                  <c:v>82.1716666666666</c:v>
                </c:pt>
                <c:pt idx="398">
                  <c:v>50.0162499999999</c:v>
                </c:pt>
                <c:pt idx="399">
                  <c:v>64.7133333333333</c:v>
                </c:pt>
                <c:pt idx="400">
                  <c:v>44.0225</c:v>
                </c:pt>
                <c:pt idx="401">
                  <c:v>54.5445833333333</c:v>
                </c:pt>
                <c:pt idx="402">
                  <c:v>44.4191666666666</c:v>
                </c:pt>
                <c:pt idx="403">
                  <c:v>74.7116666666666</c:v>
                </c:pt>
                <c:pt idx="404">
                  <c:v>43.5283333333333</c:v>
                </c:pt>
                <c:pt idx="405">
                  <c:v>58.1995833333333</c:v>
                </c:pt>
                <c:pt idx="406">
                  <c:v>38.4038888888888</c:v>
                </c:pt>
                <c:pt idx="407">
                  <c:v>48.52875</c:v>
                </c:pt>
                <c:pt idx="408">
                  <c:v>45.4545833333333</c:v>
                </c:pt>
                <c:pt idx="409">
                  <c:v>65.0912499999999</c:v>
                </c:pt>
                <c:pt idx="410">
                  <c:v>53.25375</c:v>
                </c:pt>
                <c:pt idx="411">
                  <c:v>62.6349999999999</c:v>
                </c:pt>
                <c:pt idx="412">
                  <c:v>43.7979166666666</c:v>
                </c:pt>
                <c:pt idx="413">
                  <c:v>74.7904166666666</c:v>
                </c:pt>
                <c:pt idx="414">
                  <c:v>54.195</c:v>
                </c:pt>
                <c:pt idx="415">
                  <c:v>81.42874999999999</c:v>
                </c:pt>
                <c:pt idx="416">
                  <c:v>61.5916666666666</c:v>
                </c:pt>
                <c:pt idx="417">
                  <c:v>84.005</c:v>
                </c:pt>
                <c:pt idx="418">
                  <c:v>73.07125</c:v>
                </c:pt>
                <c:pt idx="419">
                  <c:v>89.2516666666666</c:v>
                </c:pt>
                <c:pt idx="420">
                  <c:v>70.0245833333333</c:v>
                </c:pt>
                <c:pt idx="421">
                  <c:v>72.64</c:v>
                </c:pt>
                <c:pt idx="422">
                  <c:v>63.7191666666666</c:v>
                </c:pt>
                <c:pt idx="423">
                  <c:v>76.6804166666666</c:v>
                </c:pt>
                <c:pt idx="424">
                  <c:v>97.3719999999999</c:v>
                </c:pt>
                <c:pt idx="425">
                  <c:v>87.4750833333333</c:v>
                </c:pt>
                <c:pt idx="426">
                  <c:v>42.4478888888888</c:v>
                </c:pt>
                <c:pt idx="427">
                  <c:v>54.3791666666666</c:v>
                </c:pt>
                <c:pt idx="428">
                  <c:v>47.2263333333333</c:v>
                </c:pt>
                <c:pt idx="429">
                  <c:v>65.7411666666666</c:v>
                </c:pt>
                <c:pt idx="430">
                  <c:v>43.6204166666666</c:v>
                </c:pt>
                <c:pt idx="431">
                  <c:v>75.9479166666666</c:v>
                </c:pt>
                <c:pt idx="432">
                  <c:v>45.175</c:v>
                </c:pt>
                <c:pt idx="433">
                  <c:v>49.1033333333333</c:v>
                </c:pt>
                <c:pt idx="434">
                  <c:v>48.37875</c:v>
                </c:pt>
                <c:pt idx="435">
                  <c:v>49.6458333333333</c:v>
                </c:pt>
                <c:pt idx="436">
                  <c:v>52.8779166666666</c:v>
                </c:pt>
                <c:pt idx="437">
                  <c:v>98.38625</c:v>
                </c:pt>
                <c:pt idx="438">
                  <c:v>59.5904166666666</c:v>
                </c:pt>
                <c:pt idx="439">
                  <c:v>72.0966666666666</c:v>
                </c:pt>
                <c:pt idx="440">
                  <c:v>47.9270833333333</c:v>
                </c:pt>
                <c:pt idx="441">
                  <c:v>57.2433333333333</c:v>
                </c:pt>
                <c:pt idx="442">
                  <c:v>63.7583333333333</c:v>
                </c:pt>
                <c:pt idx="443">
                  <c:v>69.53083333333331</c:v>
                </c:pt>
                <c:pt idx="444">
                  <c:v>55.00875</c:v>
                </c:pt>
                <c:pt idx="445">
                  <c:v>67.9595833333333</c:v>
                </c:pt>
                <c:pt idx="446">
                  <c:v>58.4549999999999</c:v>
                </c:pt>
                <c:pt idx="447">
                  <c:v>59.5133333333333</c:v>
                </c:pt>
                <c:pt idx="448">
                  <c:v>62.10625</c:v>
                </c:pt>
                <c:pt idx="449">
                  <c:v>75.08374999999999</c:v>
                </c:pt>
                <c:pt idx="450">
                  <c:v>72.0675</c:v>
                </c:pt>
                <c:pt idx="451">
                  <c:v>69.1670833333333</c:v>
                </c:pt>
                <c:pt idx="452">
                  <c:v>47.7720833333333</c:v>
                </c:pt>
                <c:pt idx="453">
                  <c:v>57.9862499999999</c:v>
                </c:pt>
                <c:pt idx="454">
                  <c:v>53.97125</c:v>
                </c:pt>
                <c:pt idx="455">
                  <c:v>66.1008333333333</c:v>
                </c:pt>
                <c:pt idx="456">
                  <c:v>48.20625</c:v>
                </c:pt>
                <c:pt idx="457">
                  <c:v>63.6575</c:v>
                </c:pt>
                <c:pt idx="458">
                  <c:v>46.99</c:v>
                </c:pt>
                <c:pt idx="459">
                  <c:v>61.3383333333333</c:v>
                </c:pt>
                <c:pt idx="460">
                  <c:v>40.4195833333333</c:v>
                </c:pt>
                <c:pt idx="461">
                  <c:v>54.9216666666666</c:v>
                </c:pt>
                <c:pt idx="462">
                  <c:v>55.7437499999999</c:v>
                </c:pt>
                <c:pt idx="463">
                  <c:v>64.7841666666666</c:v>
                </c:pt>
                <c:pt idx="464">
                  <c:v>39.4079166666666</c:v>
                </c:pt>
                <c:pt idx="465">
                  <c:v>45.2983333333333</c:v>
                </c:pt>
                <c:pt idx="466">
                  <c:v>42.2027272727272</c:v>
                </c:pt>
                <c:pt idx="467">
                  <c:v>56.2558333333333</c:v>
                </c:pt>
                <c:pt idx="468">
                  <c:v>44.3475</c:v>
                </c:pt>
                <c:pt idx="469">
                  <c:v>60.9570833333333</c:v>
                </c:pt>
                <c:pt idx="470">
                  <c:v>46.7316666666666</c:v>
                </c:pt>
                <c:pt idx="471">
                  <c:v>56.8070833333333</c:v>
                </c:pt>
                <c:pt idx="472">
                  <c:v>41.4533333333333</c:v>
                </c:pt>
                <c:pt idx="473">
                  <c:v>56.3629166666666</c:v>
                </c:pt>
                <c:pt idx="474">
                  <c:v>44.2949999999999</c:v>
                </c:pt>
                <c:pt idx="475">
                  <c:v>56.6520833333333</c:v>
                </c:pt>
                <c:pt idx="476">
                  <c:v>54.3895833333333</c:v>
                </c:pt>
                <c:pt idx="477">
                  <c:v>79.1654166666666</c:v>
                </c:pt>
                <c:pt idx="478">
                  <c:v>54.53875</c:v>
                </c:pt>
                <c:pt idx="479">
                  <c:v>56.9908333333333</c:v>
                </c:pt>
                <c:pt idx="480">
                  <c:v>46.33375</c:v>
                </c:pt>
                <c:pt idx="481">
                  <c:v>59.1416666666666</c:v>
                </c:pt>
                <c:pt idx="482">
                  <c:v>39.8716666666666</c:v>
                </c:pt>
                <c:pt idx="483">
                  <c:v>42.4241666666666</c:v>
                </c:pt>
                <c:pt idx="484">
                  <c:v>31.8691666666666</c:v>
                </c:pt>
                <c:pt idx="485">
                  <c:v>51.9420833333333</c:v>
                </c:pt>
                <c:pt idx="486">
                  <c:v>71.97658333333329</c:v>
                </c:pt>
                <c:pt idx="487">
                  <c:v>55.5705</c:v>
                </c:pt>
                <c:pt idx="488">
                  <c:v>35.1788181818181</c:v>
                </c:pt>
                <c:pt idx="489">
                  <c:v>82.8085833333333</c:v>
                </c:pt>
                <c:pt idx="490">
                  <c:v>44.0227272727272</c:v>
                </c:pt>
                <c:pt idx="491">
                  <c:v>80.227</c:v>
                </c:pt>
                <c:pt idx="492">
                  <c:v>55.7558333333333</c:v>
                </c:pt>
                <c:pt idx="493">
                  <c:v>62.7508333333333</c:v>
                </c:pt>
                <c:pt idx="494">
                  <c:v>33.0433333333333</c:v>
                </c:pt>
                <c:pt idx="495">
                  <c:v>37.8445833333333</c:v>
                </c:pt>
                <c:pt idx="496">
                  <c:v>47.8799999999999</c:v>
                </c:pt>
                <c:pt idx="497">
                  <c:v>50.42</c:v>
                </c:pt>
                <c:pt idx="498">
                  <c:v>47.5070833333333</c:v>
                </c:pt>
                <c:pt idx="499">
                  <c:v>74.43333333333329</c:v>
                </c:pt>
                <c:pt idx="500">
                  <c:v>72.4670833333333</c:v>
                </c:pt>
                <c:pt idx="501">
                  <c:v>77.19625</c:v>
                </c:pt>
                <c:pt idx="502">
                  <c:v>52.41</c:v>
                </c:pt>
                <c:pt idx="503">
                  <c:v>73.8799999999999</c:v>
                </c:pt>
                <c:pt idx="504">
                  <c:v>62.4691666666666</c:v>
                </c:pt>
                <c:pt idx="505">
                  <c:v>70.3633333333333</c:v>
                </c:pt>
                <c:pt idx="506">
                  <c:v>48.3712499999999</c:v>
                </c:pt>
                <c:pt idx="507">
                  <c:v>88.02958333333331</c:v>
                </c:pt>
                <c:pt idx="508">
                  <c:v>51.3358333333333</c:v>
                </c:pt>
                <c:pt idx="509">
                  <c:v>65.3295833333333</c:v>
                </c:pt>
                <c:pt idx="510">
                  <c:v>53.7699999999999</c:v>
                </c:pt>
                <c:pt idx="511">
                  <c:v>63.9569999999999</c:v>
                </c:pt>
                <c:pt idx="512">
                  <c:v>51.33875</c:v>
                </c:pt>
                <c:pt idx="513">
                  <c:v>54.9345833333333</c:v>
                </c:pt>
                <c:pt idx="514">
                  <c:v>34.5225</c:v>
                </c:pt>
                <c:pt idx="515">
                  <c:v>54.93625</c:v>
                </c:pt>
                <c:pt idx="516">
                  <c:v>51.0729166666666</c:v>
                </c:pt>
                <c:pt idx="517">
                  <c:v>52.2945833333333</c:v>
                </c:pt>
                <c:pt idx="518">
                  <c:v>44.7266666666666</c:v>
                </c:pt>
                <c:pt idx="519">
                  <c:v>77.5175</c:v>
                </c:pt>
                <c:pt idx="520">
                  <c:v>49.5545833333333</c:v>
                </c:pt>
                <c:pt idx="521">
                  <c:v>52.4429166666666</c:v>
                </c:pt>
                <c:pt idx="522">
                  <c:v>49.8287499999999</c:v>
                </c:pt>
                <c:pt idx="523">
                  <c:v>67.5495833333333</c:v>
                </c:pt>
                <c:pt idx="524">
                  <c:v>48.2075</c:v>
                </c:pt>
                <c:pt idx="525">
                  <c:v>46.8087499999999</c:v>
                </c:pt>
                <c:pt idx="526">
                  <c:v>45.87375</c:v>
                </c:pt>
                <c:pt idx="527">
                  <c:v>47.7245833333333</c:v>
                </c:pt>
                <c:pt idx="528">
                  <c:v>28.8459999999999</c:v>
                </c:pt>
                <c:pt idx="529">
                  <c:v>60.2445833333333</c:v>
                </c:pt>
                <c:pt idx="530">
                  <c:v>36.31625</c:v>
                </c:pt>
                <c:pt idx="531">
                  <c:v>44.5374999999999</c:v>
                </c:pt>
                <c:pt idx="532">
                  <c:v>34.5533333333333</c:v>
                </c:pt>
                <c:pt idx="533">
                  <c:v>53.4024999999999</c:v>
                </c:pt>
                <c:pt idx="534">
                  <c:v>50.3558333333333</c:v>
                </c:pt>
                <c:pt idx="535">
                  <c:v>59.46375</c:v>
                </c:pt>
                <c:pt idx="536">
                  <c:v>50.2483333333333</c:v>
                </c:pt>
                <c:pt idx="537">
                  <c:v>52.9354166666666</c:v>
                </c:pt>
                <c:pt idx="538">
                  <c:v>61.7058333333333</c:v>
                </c:pt>
                <c:pt idx="539">
                  <c:v>63.6554166666666</c:v>
                </c:pt>
                <c:pt idx="540">
                  <c:v>55.8370833333333</c:v>
                </c:pt>
                <c:pt idx="541">
                  <c:v>51.7833333333333</c:v>
                </c:pt>
                <c:pt idx="542">
                  <c:v>51.995</c:v>
                </c:pt>
                <c:pt idx="543">
                  <c:v>60.6374999999999</c:v>
                </c:pt>
                <c:pt idx="544">
                  <c:v>44.73875</c:v>
                </c:pt>
                <c:pt idx="545">
                  <c:v>59.0162499999999</c:v>
                </c:pt>
                <c:pt idx="546">
                  <c:v>41.7096</c:v>
                </c:pt>
                <c:pt idx="547">
                  <c:v>56.2808333333333</c:v>
                </c:pt>
                <c:pt idx="548">
                  <c:v>35.24225</c:v>
                </c:pt>
                <c:pt idx="549">
                  <c:v>73.4006666666666</c:v>
                </c:pt>
                <c:pt idx="550">
                  <c:v>64.4280833333333</c:v>
                </c:pt>
                <c:pt idx="551">
                  <c:v>75.9522499999999</c:v>
                </c:pt>
                <c:pt idx="552">
                  <c:v>53.5320833333333</c:v>
                </c:pt>
                <c:pt idx="553">
                  <c:v>70.23333333333331</c:v>
                </c:pt>
                <c:pt idx="554">
                  <c:v>43.7925</c:v>
                </c:pt>
                <c:pt idx="555">
                  <c:v>43.9679166666666</c:v>
                </c:pt>
                <c:pt idx="556">
                  <c:v>51.145</c:v>
                </c:pt>
                <c:pt idx="557">
                  <c:v>44.2258333333333</c:v>
                </c:pt>
                <c:pt idx="558">
                  <c:v>62.5325</c:v>
                </c:pt>
                <c:pt idx="559">
                  <c:v>83.4608333333333</c:v>
                </c:pt>
                <c:pt idx="560">
                  <c:v>58.6229166666666</c:v>
                </c:pt>
                <c:pt idx="561">
                  <c:v>66.8308333333333</c:v>
                </c:pt>
                <c:pt idx="562">
                  <c:v>53.8358333333333</c:v>
                </c:pt>
                <c:pt idx="563">
                  <c:v>68.9475</c:v>
                </c:pt>
                <c:pt idx="564">
                  <c:v>60.9183333333333</c:v>
                </c:pt>
                <c:pt idx="565">
                  <c:v>65.825</c:v>
                </c:pt>
                <c:pt idx="566">
                  <c:v>45.2466666666666</c:v>
                </c:pt>
                <c:pt idx="567">
                  <c:v>93.7891666666666</c:v>
                </c:pt>
                <c:pt idx="568">
                  <c:v>45.9566666666666</c:v>
                </c:pt>
                <c:pt idx="569">
                  <c:v>71.9991666666666</c:v>
                </c:pt>
                <c:pt idx="570">
                  <c:v>37.19875</c:v>
                </c:pt>
                <c:pt idx="571">
                  <c:v>52.4466666666666</c:v>
                </c:pt>
                <c:pt idx="572">
                  <c:v>42.4991666666666</c:v>
                </c:pt>
                <c:pt idx="573">
                  <c:v>63.8075</c:v>
                </c:pt>
                <c:pt idx="574">
                  <c:v>54.5766666666666</c:v>
                </c:pt>
                <c:pt idx="575">
                  <c:v>55.9825</c:v>
                </c:pt>
                <c:pt idx="576">
                  <c:v>44.2991666666666</c:v>
                </c:pt>
                <c:pt idx="577">
                  <c:v>59.9891666666666</c:v>
                </c:pt>
                <c:pt idx="578">
                  <c:v>51.0329166666666</c:v>
                </c:pt>
                <c:pt idx="579">
                  <c:v>64.2191666666666</c:v>
                </c:pt>
                <c:pt idx="580">
                  <c:v>71.8358333333333</c:v>
                </c:pt>
                <c:pt idx="581">
                  <c:v>76.0375</c:v>
                </c:pt>
                <c:pt idx="582">
                  <c:v>53.73</c:v>
                </c:pt>
                <c:pt idx="583">
                  <c:v>76.7079166666666</c:v>
                </c:pt>
                <c:pt idx="584">
                  <c:v>49.93</c:v>
                </c:pt>
                <c:pt idx="585">
                  <c:v>56.1558333333333</c:v>
                </c:pt>
                <c:pt idx="586">
                  <c:v>49.8691666666666</c:v>
                </c:pt>
                <c:pt idx="587">
                  <c:v>57.0691666666666</c:v>
                </c:pt>
                <c:pt idx="588">
                  <c:v>42.99875</c:v>
                </c:pt>
                <c:pt idx="589">
                  <c:v>50.1279166666666</c:v>
                </c:pt>
                <c:pt idx="590">
                  <c:v>37.5587499999999</c:v>
                </c:pt>
                <c:pt idx="591">
                  <c:v>42.2962499999999</c:v>
                </c:pt>
                <c:pt idx="592">
                  <c:v>47.5333333333333</c:v>
                </c:pt>
                <c:pt idx="593">
                  <c:v>58.02375</c:v>
                </c:pt>
                <c:pt idx="594">
                  <c:v>57.10375</c:v>
                </c:pt>
                <c:pt idx="595">
                  <c:v>68.65208333333329</c:v>
                </c:pt>
                <c:pt idx="596">
                  <c:v>60.0491666666666</c:v>
                </c:pt>
                <c:pt idx="597">
                  <c:v>60.7708333333333</c:v>
                </c:pt>
                <c:pt idx="598">
                  <c:v>52.8570833333333</c:v>
                </c:pt>
                <c:pt idx="599">
                  <c:v>55.77875</c:v>
                </c:pt>
                <c:pt idx="600">
                  <c:v>45.5079166666666</c:v>
                </c:pt>
                <c:pt idx="601">
                  <c:v>57.3620833333333</c:v>
                </c:pt>
                <c:pt idx="602">
                  <c:v>65.62916666666661</c:v>
                </c:pt>
                <c:pt idx="603">
                  <c:v>67.6258333333333</c:v>
                </c:pt>
                <c:pt idx="604">
                  <c:v>51.22375</c:v>
                </c:pt>
                <c:pt idx="605">
                  <c:v>69.5866666666666</c:v>
                </c:pt>
                <c:pt idx="606">
                  <c:v>61.6116666666666</c:v>
                </c:pt>
                <c:pt idx="607">
                  <c:v>54.9283333333333</c:v>
                </c:pt>
                <c:pt idx="608">
                  <c:v>54.774375</c:v>
                </c:pt>
                <c:pt idx="609">
                  <c:v>57.5251666666666</c:v>
                </c:pt>
                <c:pt idx="610">
                  <c:v>55.5259166666666</c:v>
                </c:pt>
                <c:pt idx="611">
                  <c:v>93.17625</c:v>
                </c:pt>
                <c:pt idx="612">
                  <c:v>73.73925</c:v>
                </c:pt>
                <c:pt idx="613">
                  <c:v>67.3714166666666</c:v>
                </c:pt>
                <c:pt idx="614">
                  <c:v>54.0245833333333</c:v>
                </c:pt>
                <c:pt idx="615">
                  <c:v>56.475</c:v>
                </c:pt>
                <c:pt idx="616">
                  <c:v>50.3766666666666</c:v>
                </c:pt>
                <c:pt idx="617">
                  <c:v>41.9158333333333</c:v>
                </c:pt>
                <c:pt idx="618">
                  <c:v>42.0070833333333</c:v>
                </c:pt>
                <c:pt idx="619">
                  <c:v>48.2645833333333</c:v>
                </c:pt>
                <c:pt idx="620">
                  <c:v>57.5816666666666</c:v>
                </c:pt>
                <c:pt idx="621">
                  <c:v>81.2558333333333</c:v>
                </c:pt>
                <c:pt idx="622">
                  <c:v>50.5095833333333</c:v>
                </c:pt>
                <c:pt idx="623">
                  <c:v>61.9158333333333</c:v>
                </c:pt>
                <c:pt idx="624">
                  <c:v>44.4520833333333</c:v>
                </c:pt>
                <c:pt idx="625">
                  <c:v>66.2733333333333</c:v>
                </c:pt>
                <c:pt idx="626">
                  <c:v>56.90625</c:v>
                </c:pt>
                <c:pt idx="627">
                  <c:v>65.3175</c:v>
                </c:pt>
                <c:pt idx="628">
                  <c:v>63.1516666666666</c:v>
                </c:pt>
                <c:pt idx="629">
                  <c:v>78.0254166666666</c:v>
                </c:pt>
                <c:pt idx="630">
                  <c:v>50.1358333333333</c:v>
                </c:pt>
                <c:pt idx="631">
                  <c:v>74.4545833333333</c:v>
                </c:pt>
                <c:pt idx="632">
                  <c:v>47.6004166666666</c:v>
                </c:pt>
                <c:pt idx="633">
                  <c:v>54.03875</c:v>
                </c:pt>
                <c:pt idx="634">
                  <c:v>53.2404166666666</c:v>
                </c:pt>
                <c:pt idx="635">
                  <c:v>79.7545833333333</c:v>
                </c:pt>
                <c:pt idx="636">
                  <c:v>46.8712499999999</c:v>
                </c:pt>
                <c:pt idx="637">
                  <c:v>73.2675</c:v>
                </c:pt>
                <c:pt idx="638">
                  <c:v>49.975</c:v>
                </c:pt>
                <c:pt idx="639">
                  <c:v>77.7662499999999</c:v>
                </c:pt>
                <c:pt idx="640">
                  <c:v>56.20375</c:v>
                </c:pt>
                <c:pt idx="641">
                  <c:v>74.7445833333333</c:v>
                </c:pt>
                <c:pt idx="642">
                  <c:v>55.78375</c:v>
                </c:pt>
                <c:pt idx="643">
                  <c:v>48.4945833333333</c:v>
                </c:pt>
                <c:pt idx="644">
                  <c:v>33.2994444444444</c:v>
                </c:pt>
                <c:pt idx="645">
                  <c:v>40.535</c:v>
                </c:pt>
                <c:pt idx="646">
                  <c:v>33.345</c:v>
                </c:pt>
                <c:pt idx="647">
                  <c:v>44.9583333333333</c:v>
                </c:pt>
                <c:pt idx="648">
                  <c:v>38.8475</c:v>
                </c:pt>
                <c:pt idx="649">
                  <c:v>56.4879166666666</c:v>
                </c:pt>
                <c:pt idx="650">
                  <c:v>44.54875</c:v>
                </c:pt>
                <c:pt idx="651">
                  <c:v>54.9779166666666</c:v>
                </c:pt>
                <c:pt idx="652">
                  <c:v>36.4375</c:v>
                </c:pt>
                <c:pt idx="653">
                  <c:v>56.4187499999999</c:v>
                </c:pt>
                <c:pt idx="654">
                  <c:v>54.0883333333333</c:v>
                </c:pt>
                <c:pt idx="655">
                  <c:v>46.5124999999999</c:v>
                </c:pt>
                <c:pt idx="656">
                  <c:v>45.9966666666666</c:v>
                </c:pt>
                <c:pt idx="657">
                  <c:v>48.3140909090909</c:v>
                </c:pt>
                <c:pt idx="658">
                  <c:v>44.3228571428571</c:v>
                </c:pt>
                <c:pt idx="659">
                  <c:v>39.0049999999999</c:v>
                </c:pt>
                <c:pt idx="660">
                  <c:v>32.4338888888888</c:v>
                </c:pt>
                <c:pt idx="661">
                  <c:v>54.3170833333333</c:v>
                </c:pt>
                <c:pt idx="662">
                  <c:v>54.1154166666666</c:v>
                </c:pt>
                <c:pt idx="663">
                  <c:v>55.4416666666666</c:v>
                </c:pt>
                <c:pt idx="664">
                  <c:v>55.4337499999999</c:v>
                </c:pt>
                <c:pt idx="665">
                  <c:v>42.2208333333333</c:v>
                </c:pt>
                <c:pt idx="666">
                  <c:v>39.7412499999999</c:v>
                </c:pt>
                <c:pt idx="667">
                  <c:v>47.6275</c:v>
                </c:pt>
                <c:pt idx="668">
                  <c:v>51.69725</c:v>
                </c:pt>
                <c:pt idx="669">
                  <c:v>91.08674999999999</c:v>
                </c:pt>
                <c:pt idx="670">
                  <c:v>108.491333333333</c:v>
                </c:pt>
                <c:pt idx="671">
                  <c:v>103.1505</c:v>
                </c:pt>
                <c:pt idx="672">
                  <c:v>44.5545</c:v>
                </c:pt>
                <c:pt idx="673">
                  <c:v>56.4591666666666</c:v>
                </c:pt>
                <c:pt idx="674">
                  <c:v>45.98625</c:v>
                </c:pt>
                <c:pt idx="675">
                  <c:v>45.4258333333333</c:v>
                </c:pt>
                <c:pt idx="676">
                  <c:v>39.857</c:v>
                </c:pt>
                <c:pt idx="677">
                  <c:v>42.8686363636363</c:v>
                </c:pt>
                <c:pt idx="678">
                  <c:v>37.8484999999999</c:v>
                </c:pt>
                <c:pt idx="679">
                  <c:v>47.80625</c:v>
                </c:pt>
                <c:pt idx="680">
                  <c:v>60.9220833333333</c:v>
                </c:pt>
                <c:pt idx="681">
                  <c:v>62.5266666666666</c:v>
                </c:pt>
                <c:pt idx="682">
                  <c:v>80.0262499999999</c:v>
                </c:pt>
                <c:pt idx="683">
                  <c:v>93.38125</c:v>
                </c:pt>
                <c:pt idx="684">
                  <c:v>52.6329166666666</c:v>
                </c:pt>
                <c:pt idx="685">
                  <c:v>66.2979166666666</c:v>
                </c:pt>
                <c:pt idx="686">
                  <c:v>41.9358333333333</c:v>
                </c:pt>
                <c:pt idx="687">
                  <c:v>47.5566666666666</c:v>
                </c:pt>
                <c:pt idx="688">
                  <c:v>51.5362499999999</c:v>
                </c:pt>
                <c:pt idx="689">
                  <c:v>58.0066666666666</c:v>
                </c:pt>
                <c:pt idx="690">
                  <c:v>55.4245833333333</c:v>
                </c:pt>
                <c:pt idx="691">
                  <c:v>69.6895833333333</c:v>
                </c:pt>
                <c:pt idx="692">
                  <c:v>56.5733333333333</c:v>
                </c:pt>
                <c:pt idx="693">
                  <c:v>89.4145833333333</c:v>
                </c:pt>
                <c:pt idx="694">
                  <c:v>65.42541666666661</c:v>
                </c:pt>
                <c:pt idx="695">
                  <c:v>79.21833333333331</c:v>
                </c:pt>
                <c:pt idx="696">
                  <c:v>61.0904166666666</c:v>
                </c:pt>
                <c:pt idx="697">
                  <c:v>82.68458333333329</c:v>
                </c:pt>
                <c:pt idx="698">
                  <c:v>58.4845833333333</c:v>
                </c:pt>
                <c:pt idx="699">
                  <c:v>88.3529166666666</c:v>
                </c:pt>
                <c:pt idx="700">
                  <c:v>68.3441666666666</c:v>
                </c:pt>
                <c:pt idx="701">
                  <c:v>54.7549999999999</c:v>
                </c:pt>
                <c:pt idx="702">
                  <c:v>57.5662499999999</c:v>
                </c:pt>
                <c:pt idx="703">
                  <c:v>53.73375</c:v>
                </c:pt>
                <c:pt idx="704">
                  <c:v>59.6970833333333</c:v>
                </c:pt>
                <c:pt idx="705">
                  <c:v>51.7345833333333</c:v>
                </c:pt>
                <c:pt idx="706">
                  <c:v>38.4233333333333</c:v>
                </c:pt>
                <c:pt idx="707">
                  <c:v>44.9495833333333</c:v>
                </c:pt>
                <c:pt idx="708">
                  <c:v>44.59</c:v>
                </c:pt>
                <c:pt idx="709">
                  <c:v>48.775</c:v>
                </c:pt>
                <c:pt idx="710">
                  <c:v>46.7908333333333</c:v>
                </c:pt>
                <c:pt idx="711">
                  <c:v>56.9729166666666</c:v>
                </c:pt>
                <c:pt idx="712">
                  <c:v>46.9695833333333</c:v>
                </c:pt>
                <c:pt idx="713">
                  <c:v>48.4270833333333</c:v>
                </c:pt>
                <c:pt idx="714">
                  <c:v>42.3508333333333</c:v>
                </c:pt>
                <c:pt idx="715">
                  <c:v>40.6808333333333</c:v>
                </c:pt>
                <c:pt idx="716">
                  <c:v>37.1666666666666</c:v>
                </c:pt>
                <c:pt idx="717">
                  <c:v>38.9608333333333</c:v>
                </c:pt>
                <c:pt idx="718">
                  <c:v>40.2654166666666</c:v>
                </c:pt>
                <c:pt idx="719">
                  <c:v>42.8674999999999</c:v>
                </c:pt>
                <c:pt idx="720">
                  <c:v>49.3962499999999</c:v>
                </c:pt>
                <c:pt idx="721">
                  <c:v>41.4558333333333</c:v>
                </c:pt>
                <c:pt idx="722">
                  <c:v>33.3677272727272</c:v>
                </c:pt>
                <c:pt idx="723">
                  <c:v>43.60125</c:v>
                </c:pt>
                <c:pt idx="724">
                  <c:v>45.1020833333333</c:v>
                </c:pt>
                <c:pt idx="725">
                  <c:v>48.5054166666666</c:v>
                </c:pt>
                <c:pt idx="726">
                  <c:v>40.7454166666666</c:v>
                </c:pt>
                <c:pt idx="727">
                  <c:v>52.2662499999999</c:v>
                </c:pt>
                <c:pt idx="728">
                  <c:v>44.8895833333333</c:v>
                </c:pt>
                <c:pt idx="729">
                  <c:v>42.4995833333333</c:v>
                </c:pt>
              </c:numCache>
            </c:numRef>
          </c:xVal>
          <c:yVal>
            <c:numRef>
              <c:f>'Water Trading Repository Table'!$B$3:$B$732</c:f>
              <c:numCache>
                <c:formatCode>0.00</c:formatCode>
                <c:ptCount val="730"/>
                <c:pt idx="0">
                  <c:v>2674.4305</c:v>
                </c:pt>
                <c:pt idx="1">
                  <c:v>2576.12783333333</c:v>
                </c:pt>
                <c:pt idx="2">
                  <c:v>2131.98195833333</c:v>
                </c:pt>
                <c:pt idx="3">
                  <c:v>2772.05595833333</c:v>
                </c:pt>
                <c:pt idx="4">
                  <c:v>2143.486625</c:v>
                </c:pt>
                <c:pt idx="5">
                  <c:v>2682.031125</c:v>
                </c:pt>
                <c:pt idx="6">
                  <c:v>1788.07475</c:v>
                </c:pt>
                <c:pt idx="7">
                  <c:v>2082.84509090909</c:v>
                </c:pt>
                <c:pt idx="8">
                  <c:v>1815.8505</c:v>
                </c:pt>
                <c:pt idx="9">
                  <c:v>2219.27536363636</c:v>
                </c:pt>
                <c:pt idx="10">
                  <c:v>2142.3453</c:v>
                </c:pt>
                <c:pt idx="11">
                  <c:v>2169.74370833333</c:v>
                </c:pt>
                <c:pt idx="12">
                  <c:v>2228.9215</c:v>
                </c:pt>
                <c:pt idx="13">
                  <c:v>2289.449</c:v>
                </c:pt>
                <c:pt idx="14">
                  <c:v>1966.19391666666</c:v>
                </c:pt>
                <c:pt idx="15">
                  <c:v>2222.98404166666</c:v>
                </c:pt>
                <c:pt idx="16">
                  <c:v>1651.58858333333</c:v>
                </c:pt>
                <c:pt idx="17">
                  <c:v>1957.57495833333</c:v>
                </c:pt>
                <c:pt idx="18">
                  <c:v>1865.02499999999</c:v>
                </c:pt>
                <c:pt idx="19">
                  <c:v>2157.29333333333</c:v>
                </c:pt>
                <c:pt idx="20">
                  <c:v>1933.90079166666</c:v>
                </c:pt>
                <c:pt idx="21">
                  <c:v>2161.194375</c:v>
                </c:pt>
                <c:pt idx="22">
                  <c:v>1672.51316666666</c:v>
                </c:pt>
                <c:pt idx="23">
                  <c:v>1928.05904166666</c:v>
                </c:pt>
                <c:pt idx="24">
                  <c:v>1863.63699999999</c:v>
                </c:pt>
                <c:pt idx="25">
                  <c:v>2185.68658333333</c:v>
                </c:pt>
                <c:pt idx="26">
                  <c:v>2185.57604166666</c:v>
                </c:pt>
                <c:pt idx="27">
                  <c:v>3175.27691666666</c:v>
                </c:pt>
                <c:pt idx="28">
                  <c:v>2648.79408333333</c:v>
                </c:pt>
                <c:pt idx="29">
                  <c:v>3164.51675</c:v>
                </c:pt>
                <c:pt idx="30">
                  <c:v>2308.03954166666</c:v>
                </c:pt>
                <c:pt idx="31">
                  <c:v>2417.77904166666</c:v>
                </c:pt>
                <c:pt idx="32">
                  <c:v>1961.419625</c:v>
                </c:pt>
                <c:pt idx="33">
                  <c:v>2127.07145833333</c:v>
                </c:pt>
                <c:pt idx="34">
                  <c:v>2004.69231249999</c:v>
                </c:pt>
                <c:pt idx="35">
                  <c:v>2200.499</c:v>
                </c:pt>
                <c:pt idx="36">
                  <c:v>1839.56214285714</c:v>
                </c:pt>
                <c:pt idx="37">
                  <c:v>2184.156125</c:v>
                </c:pt>
                <c:pt idx="38">
                  <c:v>1748.4125</c:v>
                </c:pt>
                <c:pt idx="39">
                  <c:v>2417.65070833333</c:v>
                </c:pt>
                <c:pt idx="40">
                  <c:v>2067.54829166666</c:v>
                </c:pt>
                <c:pt idx="41">
                  <c:v>2572.71675</c:v>
                </c:pt>
                <c:pt idx="42">
                  <c:v>2070.56383333333</c:v>
                </c:pt>
                <c:pt idx="43">
                  <c:v>2702.10716666666</c:v>
                </c:pt>
                <c:pt idx="44">
                  <c:v>2155.50554166666</c:v>
                </c:pt>
                <c:pt idx="45">
                  <c:v>2449.97354166666</c:v>
                </c:pt>
                <c:pt idx="46">
                  <c:v>1994.98945454545</c:v>
                </c:pt>
                <c:pt idx="47">
                  <c:v>2281.83491666666</c:v>
                </c:pt>
                <c:pt idx="48">
                  <c:v>1951.52633333333</c:v>
                </c:pt>
                <c:pt idx="49">
                  <c:v>2341.05929166666</c:v>
                </c:pt>
                <c:pt idx="50">
                  <c:v>1823.69091666666</c:v>
                </c:pt>
                <c:pt idx="51">
                  <c:v>2288.37904166666</c:v>
                </c:pt>
                <c:pt idx="52">
                  <c:v>1833.969625</c:v>
                </c:pt>
                <c:pt idx="53">
                  <c:v>2465.66325</c:v>
                </c:pt>
                <c:pt idx="54">
                  <c:v>1844.722</c:v>
                </c:pt>
                <c:pt idx="55">
                  <c:v>2259.03716666666</c:v>
                </c:pt>
                <c:pt idx="56">
                  <c:v>1988.96608333333</c:v>
                </c:pt>
                <c:pt idx="57">
                  <c:v>2498.43016666666</c:v>
                </c:pt>
                <c:pt idx="58">
                  <c:v>2064.48324999999</c:v>
                </c:pt>
                <c:pt idx="59">
                  <c:v>2629.69354166666</c:v>
                </c:pt>
                <c:pt idx="60">
                  <c:v>2088.80875</c:v>
                </c:pt>
                <c:pt idx="61">
                  <c:v>2670.88983333333</c:v>
                </c:pt>
                <c:pt idx="62">
                  <c:v>2061.80587499999</c:v>
                </c:pt>
                <c:pt idx="63">
                  <c:v>2388.200625</c:v>
                </c:pt>
                <c:pt idx="64">
                  <c:v>2012.08266666666</c:v>
                </c:pt>
                <c:pt idx="65">
                  <c:v>2765.58395833333</c:v>
                </c:pt>
                <c:pt idx="66">
                  <c:v>1877.67058333333</c:v>
                </c:pt>
                <c:pt idx="67">
                  <c:v>2193.59641666666</c:v>
                </c:pt>
                <c:pt idx="68">
                  <c:v>2175.58921428571</c:v>
                </c:pt>
                <c:pt idx="69">
                  <c:v>2378.29995833333</c:v>
                </c:pt>
                <c:pt idx="70">
                  <c:v>2051.62914285714</c:v>
                </c:pt>
                <c:pt idx="71">
                  <c:v>2120.047875</c:v>
                </c:pt>
                <c:pt idx="72">
                  <c:v>1760.261375</c:v>
                </c:pt>
                <c:pt idx="73">
                  <c:v>2111.64145833333</c:v>
                </c:pt>
                <c:pt idx="74">
                  <c:v>2026.51229166666</c:v>
                </c:pt>
                <c:pt idx="75">
                  <c:v>2289.05620833333</c:v>
                </c:pt>
                <c:pt idx="76">
                  <c:v>1996.34679166666</c:v>
                </c:pt>
                <c:pt idx="77">
                  <c:v>2194.73129166666</c:v>
                </c:pt>
                <c:pt idx="78">
                  <c:v>1922.08879166666</c:v>
                </c:pt>
                <c:pt idx="79">
                  <c:v>2188.25929166666</c:v>
                </c:pt>
                <c:pt idx="80">
                  <c:v>1805.33145833333</c:v>
                </c:pt>
                <c:pt idx="81">
                  <c:v>1953.63308333333</c:v>
                </c:pt>
                <c:pt idx="82">
                  <c:v>1709.93233333333</c:v>
                </c:pt>
                <c:pt idx="83">
                  <c:v>2004.21187499999</c:v>
                </c:pt>
                <c:pt idx="84">
                  <c:v>1882.41370833333</c:v>
                </c:pt>
                <c:pt idx="85">
                  <c:v>2126.41379166666</c:v>
                </c:pt>
                <c:pt idx="86">
                  <c:v>2547.82225</c:v>
                </c:pt>
                <c:pt idx="87">
                  <c:v>3266.07708333333</c:v>
                </c:pt>
                <c:pt idx="88">
                  <c:v>2419.28275</c:v>
                </c:pt>
                <c:pt idx="89">
                  <c:v>2691.45399999999</c:v>
                </c:pt>
                <c:pt idx="90">
                  <c:v>2256.86075</c:v>
                </c:pt>
                <c:pt idx="91">
                  <c:v>2775.10066666666</c:v>
                </c:pt>
                <c:pt idx="92">
                  <c:v>2142.85258333333</c:v>
                </c:pt>
                <c:pt idx="93">
                  <c:v>2670.64508333333</c:v>
                </c:pt>
                <c:pt idx="94">
                  <c:v>1874.96795833333</c:v>
                </c:pt>
                <c:pt idx="95">
                  <c:v>2058.61191666666</c:v>
                </c:pt>
                <c:pt idx="96">
                  <c:v>1985.4231</c:v>
                </c:pt>
                <c:pt idx="97">
                  <c:v>2291.04</c:v>
                </c:pt>
                <c:pt idx="98">
                  <c:v>2199.879625</c:v>
                </c:pt>
                <c:pt idx="99">
                  <c:v>2610.51429166666</c:v>
                </c:pt>
                <c:pt idx="100">
                  <c:v>2211.90070833333</c:v>
                </c:pt>
                <c:pt idx="101">
                  <c:v>3203.99358333333</c:v>
                </c:pt>
                <c:pt idx="102">
                  <c:v>2531.77875</c:v>
                </c:pt>
                <c:pt idx="103">
                  <c:v>3296.54145833333</c:v>
                </c:pt>
                <c:pt idx="104">
                  <c:v>2438.704875</c:v>
                </c:pt>
                <c:pt idx="105">
                  <c:v>2403.74920833333</c:v>
                </c:pt>
                <c:pt idx="106">
                  <c:v>1741.94345833333</c:v>
                </c:pt>
                <c:pt idx="107">
                  <c:v>1985.73895833333</c:v>
                </c:pt>
                <c:pt idx="108">
                  <c:v>1658.63741666666</c:v>
                </c:pt>
                <c:pt idx="109">
                  <c:v>2032.00670833333</c:v>
                </c:pt>
                <c:pt idx="110">
                  <c:v>2014.14358333333</c:v>
                </c:pt>
                <c:pt idx="111">
                  <c:v>2763.39149999999</c:v>
                </c:pt>
                <c:pt idx="112">
                  <c:v>2260.07733333333</c:v>
                </c:pt>
                <c:pt idx="113">
                  <c:v>3089.39804166666</c:v>
                </c:pt>
                <c:pt idx="114">
                  <c:v>2268.41604166666</c:v>
                </c:pt>
                <c:pt idx="115">
                  <c:v>2928.504125</c:v>
                </c:pt>
                <c:pt idx="116">
                  <c:v>2219.08508333333</c:v>
                </c:pt>
                <c:pt idx="117">
                  <c:v>2785.351</c:v>
                </c:pt>
                <c:pt idx="118">
                  <c:v>2022.31391666666</c:v>
                </c:pt>
                <c:pt idx="119">
                  <c:v>2246.174625</c:v>
                </c:pt>
                <c:pt idx="120">
                  <c:v>1955.92941666666</c:v>
                </c:pt>
                <c:pt idx="121">
                  <c:v>2746.75520833333</c:v>
                </c:pt>
                <c:pt idx="122">
                  <c:v>1767.717125</c:v>
                </c:pt>
                <c:pt idx="123">
                  <c:v>2275.62616666666</c:v>
                </c:pt>
                <c:pt idx="124">
                  <c:v>2016.70516666666</c:v>
                </c:pt>
                <c:pt idx="125">
                  <c:v>2550.789</c:v>
                </c:pt>
                <c:pt idx="126">
                  <c:v>1815.82908333333</c:v>
                </c:pt>
                <c:pt idx="127">
                  <c:v>2059.78404166666</c:v>
                </c:pt>
                <c:pt idx="128">
                  <c:v>1758.11533333333</c:v>
                </c:pt>
                <c:pt idx="129">
                  <c:v>2062.889875</c:v>
                </c:pt>
                <c:pt idx="130">
                  <c:v>2008.605625</c:v>
                </c:pt>
                <c:pt idx="131">
                  <c:v>2403.17054166666</c:v>
                </c:pt>
                <c:pt idx="132">
                  <c:v>1802.78075</c:v>
                </c:pt>
                <c:pt idx="133">
                  <c:v>2012.33841666666</c:v>
                </c:pt>
                <c:pt idx="134">
                  <c:v>1925.64695833333</c:v>
                </c:pt>
                <c:pt idx="135">
                  <c:v>2278.76370833333</c:v>
                </c:pt>
                <c:pt idx="136">
                  <c:v>2003.20657142857</c:v>
                </c:pt>
                <c:pt idx="137">
                  <c:v>2089.93858333333</c:v>
                </c:pt>
                <c:pt idx="138">
                  <c:v>1675.94927272727</c:v>
                </c:pt>
                <c:pt idx="139">
                  <c:v>2098.66945833333</c:v>
                </c:pt>
                <c:pt idx="140">
                  <c:v>1905.87735</c:v>
                </c:pt>
                <c:pt idx="141">
                  <c:v>2054.77229166666</c:v>
                </c:pt>
                <c:pt idx="142">
                  <c:v>1897.8969090909</c:v>
                </c:pt>
                <c:pt idx="143">
                  <c:v>2157.90275</c:v>
                </c:pt>
                <c:pt idx="144">
                  <c:v>2109.0095</c:v>
                </c:pt>
                <c:pt idx="145">
                  <c:v>2259.53731818181</c:v>
                </c:pt>
                <c:pt idx="146">
                  <c:v>2036.0522</c:v>
                </c:pt>
                <c:pt idx="147">
                  <c:v>2303.133875</c:v>
                </c:pt>
                <c:pt idx="148">
                  <c:v>1791.68449999999</c:v>
                </c:pt>
                <c:pt idx="149">
                  <c:v>2076.2275</c:v>
                </c:pt>
                <c:pt idx="150">
                  <c:v>1771.01158333333</c:v>
                </c:pt>
                <c:pt idx="151">
                  <c:v>2304.18295833333</c:v>
                </c:pt>
                <c:pt idx="152">
                  <c:v>2108.38570833333</c:v>
                </c:pt>
                <c:pt idx="153">
                  <c:v>2577.164625</c:v>
                </c:pt>
                <c:pt idx="154">
                  <c:v>2107.15958333333</c:v>
                </c:pt>
                <c:pt idx="155">
                  <c:v>2527.91441666666</c:v>
                </c:pt>
                <c:pt idx="156">
                  <c:v>2046.20375</c:v>
                </c:pt>
                <c:pt idx="157">
                  <c:v>2268.36779166666</c:v>
                </c:pt>
                <c:pt idx="158">
                  <c:v>1968.24409090909</c:v>
                </c:pt>
                <c:pt idx="159">
                  <c:v>2173.028625</c:v>
                </c:pt>
                <c:pt idx="160">
                  <c:v>2010.48955555555</c:v>
                </c:pt>
                <c:pt idx="161">
                  <c:v>2118.190375</c:v>
                </c:pt>
                <c:pt idx="162">
                  <c:v>1785.15037499999</c:v>
                </c:pt>
                <c:pt idx="163">
                  <c:v>1962.36544999999</c:v>
                </c:pt>
                <c:pt idx="164">
                  <c:v>1752.3129</c:v>
                </c:pt>
                <c:pt idx="165">
                  <c:v>1970.06404545454</c:v>
                </c:pt>
                <c:pt idx="166">
                  <c:v>2105.802125</c:v>
                </c:pt>
                <c:pt idx="167">
                  <c:v>2244.61220833333</c:v>
                </c:pt>
                <c:pt idx="168">
                  <c:v>2130.47057142857</c:v>
                </c:pt>
                <c:pt idx="169">
                  <c:v>2107.23454166666</c:v>
                </c:pt>
                <c:pt idx="170">
                  <c:v>1890.046125</c:v>
                </c:pt>
                <c:pt idx="171">
                  <c:v>2064.86241666666</c:v>
                </c:pt>
                <c:pt idx="172">
                  <c:v>1992.39727777777</c:v>
                </c:pt>
                <c:pt idx="173">
                  <c:v>2193.59583333333</c:v>
                </c:pt>
                <c:pt idx="174">
                  <c:v>1713.057875</c:v>
                </c:pt>
                <c:pt idx="175">
                  <c:v>1844.64211111111</c:v>
                </c:pt>
                <c:pt idx="176">
                  <c:v>1794.3062</c:v>
                </c:pt>
                <c:pt idx="177">
                  <c:v>1879.98222222222</c:v>
                </c:pt>
                <c:pt idx="178">
                  <c:v>1726.26783333333</c:v>
                </c:pt>
                <c:pt idx="179">
                  <c:v>1909.55291666666</c:v>
                </c:pt>
                <c:pt idx="180">
                  <c:v>1895.53734999999</c:v>
                </c:pt>
                <c:pt idx="181">
                  <c:v>2075.28145833333</c:v>
                </c:pt>
                <c:pt idx="182">
                  <c:v>2204.4625</c:v>
                </c:pt>
                <c:pt idx="183">
                  <c:v>2647.48058333333</c:v>
                </c:pt>
                <c:pt idx="184">
                  <c:v>1895.28920833333</c:v>
                </c:pt>
                <c:pt idx="185">
                  <c:v>2096.71670833333</c:v>
                </c:pt>
                <c:pt idx="186">
                  <c:v>2094.10083333333</c:v>
                </c:pt>
                <c:pt idx="187">
                  <c:v>2630.43091666666</c:v>
                </c:pt>
                <c:pt idx="188">
                  <c:v>1754.18574999999</c:v>
                </c:pt>
                <c:pt idx="189">
                  <c:v>1884.88554545454</c:v>
                </c:pt>
                <c:pt idx="190">
                  <c:v>1949.35475</c:v>
                </c:pt>
                <c:pt idx="191">
                  <c:v>2305.11054166666</c:v>
                </c:pt>
                <c:pt idx="192">
                  <c:v>2093.98512499999</c:v>
                </c:pt>
                <c:pt idx="193">
                  <c:v>2421.53862499999</c:v>
                </c:pt>
                <c:pt idx="194">
                  <c:v>1716.26629166666</c:v>
                </c:pt>
                <c:pt idx="195">
                  <c:v>1981.66070833333</c:v>
                </c:pt>
                <c:pt idx="196">
                  <c:v>1874.97291666666</c:v>
                </c:pt>
                <c:pt idx="197">
                  <c:v>2096.99399999999</c:v>
                </c:pt>
                <c:pt idx="198">
                  <c:v>1859.77166666666</c:v>
                </c:pt>
                <c:pt idx="199">
                  <c:v>2115.2125</c:v>
                </c:pt>
                <c:pt idx="200">
                  <c:v>2080.55758333333</c:v>
                </c:pt>
                <c:pt idx="201">
                  <c:v>2572.006</c:v>
                </c:pt>
                <c:pt idx="202">
                  <c:v>1915.4982</c:v>
                </c:pt>
                <c:pt idx="203">
                  <c:v>2139.759</c:v>
                </c:pt>
                <c:pt idx="204">
                  <c:v>1821.26558333333</c:v>
                </c:pt>
                <c:pt idx="205">
                  <c:v>2098.18991666666</c:v>
                </c:pt>
                <c:pt idx="206">
                  <c:v>1740.50766666666</c:v>
                </c:pt>
                <c:pt idx="207">
                  <c:v>2164.19929166666</c:v>
                </c:pt>
                <c:pt idx="208">
                  <c:v>2045.94541666666</c:v>
                </c:pt>
                <c:pt idx="209">
                  <c:v>2398.56170833333</c:v>
                </c:pt>
                <c:pt idx="210">
                  <c:v>2048.9235</c:v>
                </c:pt>
                <c:pt idx="211">
                  <c:v>2373.506</c:v>
                </c:pt>
                <c:pt idx="212">
                  <c:v>1995.30845833333</c:v>
                </c:pt>
                <c:pt idx="213">
                  <c:v>2278.07858333333</c:v>
                </c:pt>
                <c:pt idx="214">
                  <c:v>1923.85266666666</c:v>
                </c:pt>
                <c:pt idx="215">
                  <c:v>2298.48358333333</c:v>
                </c:pt>
                <c:pt idx="216">
                  <c:v>1924.03687499999</c:v>
                </c:pt>
                <c:pt idx="217">
                  <c:v>2205.93491666666</c:v>
                </c:pt>
                <c:pt idx="218">
                  <c:v>1731.95370833333</c:v>
                </c:pt>
                <c:pt idx="219">
                  <c:v>1932.34066666666</c:v>
                </c:pt>
                <c:pt idx="220">
                  <c:v>1618.65729166666</c:v>
                </c:pt>
                <c:pt idx="221">
                  <c:v>1923.44045833333</c:v>
                </c:pt>
                <c:pt idx="222">
                  <c:v>1879.78416666666</c:v>
                </c:pt>
                <c:pt idx="223">
                  <c:v>2109.70466666666</c:v>
                </c:pt>
                <c:pt idx="224">
                  <c:v>1805.62670833333</c:v>
                </c:pt>
                <c:pt idx="225">
                  <c:v>2094.196125</c:v>
                </c:pt>
                <c:pt idx="226">
                  <c:v>1835.21833333333</c:v>
                </c:pt>
                <c:pt idx="227">
                  <c:v>2135.9255</c:v>
                </c:pt>
                <c:pt idx="228">
                  <c:v>1650.9535</c:v>
                </c:pt>
                <c:pt idx="229">
                  <c:v>1909.936875</c:v>
                </c:pt>
                <c:pt idx="230">
                  <c:v>1819.76733333333</c:v>
                </c:pt>
                <c:pt idx="231">
                  <c:v>2076.17883333333</c:v>
                </c:pt>
                <c:pt idx="232">
                  <c:v>1647.12066666666</c:v>
                </c:pt>
                <c:pt idx="233">
                  <c:v>1907.809875</c:v>
                </c:pt>
                <c:pt idx="234">
                  <c:v>1546.12645833333</c:v>
                </c:pt>
                <c:pt idx="235">
                  <c:v>1858.03879166666</c:v>
                </c:pt>
                <c:pt idx="236">
                  <c:v>1922.371</c:v>
                </c:pt>
                <c:pt idx="237">
                  <c:v>2112.48645833333</c:v>
                </c:pt>
                <c:pt idx="238">
                  <c:v>2040.25571428571</c:v>
                </c:pt>
                <c:pt idx="239">
                  <c:v>2149.37733333333</c:v>
                </c:pt>
                <c:pt idx="240">
                  <c:v>1816.918</c:v>
                </c:pt>
                <c:pt idx="241">
                  <c:v>2432.27331818181</c:v>
                </c:pt>
                <c:pt idx="242">
                  <c:v>2029.36579166666</c:v>
                </c:pt>
                <c:pt idx="243">
                  <c:v>2417.70766666666</c:v>
                </c:pt>
                <c:pt idx="244">
                  <c:v>1971.13304166666</c:v>
                </c:pt>
                <c:pt idx="245">
                  <c:v>2307.28170833333</c:v>
                </c:pt>
                <c:pt idx="246">
                  <c:v>2072.04604166666</c:v>
                </c:pt>
                <c:pt idx="247">
                  <c:v>2325.55370833333</c:v>
                </c:pt>
                <c:pt idx="248">
                  <c:v>1682.53033333333</c:v>
                </c:pt>
                <c:pt idx="249">
                  <c:v>1845.692375</c:v>
                </c:pt>
                <c:pt idx="250">
                  <c:v>1947.22745833333</c:v>
                </c:pt>
                <c:pt idx="251">
                  <c:v>2272.67083333333</c:v>
                </c:pt>
                <c:pt idx="252">
                  <c:v>2162.96904166666</c:v>
                </c:pt>
                <c:pt idx="253">
                  <c:v>2396.80916666666</c:v>
                </c:pt>
                <c:pt idx="254">
                  <c:v>1959.90287499999</c:v>
                </c:pt>
                <c:pt idx="255">
                  <c:v>2223.83566666666</c:v>
                </c:pt>
                <c:pt idx="256">
                  <c:v>1947.63870833333</c:v>
                </c:pt>
                <c:pt idx="257">
                  <c:v>2195.36529166666</c:v>
                </c:pt>
                <c:pt idx="258">
                  <c:v>1752.35545833333</c:v>
                </c:pt>
                <c:pt idx="259">
                  <c:v>1953.04658333333</c:v>
                </c:pt>
                <c:pt idx="260">
                  <c:v>2006.93199999999</c:v>
                </c:pt>
                <c:pt idx="261">
                  <c:v>2167.68195833333</c:v>
                </c:pt>
                <c:pt idx="262">
                  <c:v>2025.96983333333</c:v>
                </c:pt>
                <c:pt idx="263">
                  <c:v>2364.04054166666</c:v>
                </c:pt>
                <c:pt idx="264">
                  <c:v>1953.5266875</c:v>
                </c:pt>
                <c:pt idx="265">
                  <c:v>2081.50116666666</c:v>
                </c:pt>
                <c:pt idx="266">
                  <c:v>1833.82929166666</c:v>
                </c:pt>
                <c:pt idx="267">
                  <c:v>2114.1895</c:v>
                </c:pt>
                <c:pt idx="268">
                  <c:v>1983.90711111111</c:v>
                </c:pt>
                <c:pt idx="269">
                  <c:v>2093.39308333333</c:v>
                </c:pt>
                <c:pt idx="270">
                  <c:v>1989.154375</c:v>
                </c:pt>
                <c:pt idx="271">
                  <c:v>2151.98383333333</c:v>
                </c:pt>
                <c:pt idx="272">
                  <c:v>1885.09454545454</c:v>
                </c:pt>
                <c:pt idx="273">
                  <c:v>2100.12425</c:v>
                </c:pt>
                <c:pt idx="274">
                  <c:v>1702.17618181818</c:v>
                </c:pt>
                <c:pt idx="275">
                  <c:v>1951.595625</c:v>
                </c:pt>
                <c:pt idx="276">
                  <c:v>1599.57408333333</c:v>
                </c:pt>
                <c:pt idx="277">
                  <c:v>1928.08866666666</c:v>
                </c:pt>
                <c:pt idx="278">
                  <c:v>1874.05004166666</c:v>
                </c:pt>
                <c:pt idx="279">
                  <c:v>2228.79675</c:v>
                </c:pt>
                <c:pt idx="280">
                  <c:v>1865.50854166666</c:v>
                </c:pt>
                <c:pt idx="281">
                  <c:v>2147.93854166666</c:v>
                </c:pt>
                <c:pt idx="282">
                  <c:v>1896.82779166666</c:v>
                </c:pt>
                <c:pt idx="283">
                  <c:v>2179.96991666666</c:v>
                </c:pt>
                <c:pt idx="284">
                  <c:v>1908.97083333333</c:v>
                </c:pt>
                <c:pt idx="285">
                  <c:v>2201.03941666666</c:v>
                </c:pt>
                <c:pt idx="286">
                  <c:v>1941.47354166666</c:v>
                </c:pt>
                <c:pt idx="287">
                  <c:v>2156.947125</c:v>
                </c:pt>
                <c:pt idx="288">
                  <c:v>1900.72428571428</c:v>
                </c:pt>
                <c:pt idx="289">
                  <c:v>1990.69633333333</c:v>
                </c:pt>
                <c:pt idx="290">
                  <c:v>1641.170875</c:v>
                </c:pt>
                <c:pt idx="291">
                  <c:v>1928.349</c:v>
                </c:pt>
                <c:pt idx="292">
                  <c:v>1902.70066666666</c:v>
                </c:pt>
                <c:pt idx="293">
                  <c:v>2189.06766666666</c:v>
                </c:pt>
                <c:pt idx="294">
                  <c:v>1932.23420833333</c:v>
                </c:pt>
                <c:pt idx="295">
                  <c:v>2221.45120833333</c:v>
                </c:pt>
                <c:pt idx="296">
                  <c:v>1911.44145833333</c:v>
                </c:pt>
                <c:pt idx="297">
                  <c:v>2154.56716666666</c:v>
                </c:pt>
                <c:pt idx="298">
                  <c:v>2086.45572222222</c:v>
                </c:pt>
                <c:pt idx="299">
                  <c:v>2375.89162499999</c:v>
                </c:pt>
                <c:pt idx="300">
                  <c:v>2278.90968749999</c:v>
                </c:pt>
                <c:pt idx="301">
                  <c:v>2414.67318181818</c:v>
                </c:pt>
                <c:pt idx="302">
                  <c:v>1976.13129999999</c:v>
                </c:pt>
                <c:pt idx="303">
                  <c:v>2665.508625</c:v>
                </c:pt>
                <c:pt idx="304">
                  <c:v>2063.612</c:v>
                </c:pt>
                <c:pt idx="305">
                  <c:v>2220.75304166666</c:v>
                </c:pt>
                <c:pt idx="306">
                  <c:v>2043.6455</c:v>
                </c:pt>
                <c:pt idx="307">
                  <c:v>2350.27729166666</c:v>
                </c:pt>
                <c:pt idx="308">
                  <c:v>1895.89842857142</c:v>
                </c:pt>
                <c:pt idx="309">
                  <c:v>2092.56974999999</c:v>
                </c:pt>
                <c:pt idx="310">
                  <c:v>1798.14591666666</c:v>
                </c:pt>
                <c:pt idx="311">
                  <c:v>2105.56733333333</c:v>
                </c:pt>
                <c:pt idx="312">
                  <c:v>1923.17379166666</c:v>
                </c:pt>
                <c:pt idx="313">
                  <c:v>2208.37954166666</c:v>
                </c:pt>
                <c:pt idx="314">
                  <c:v>1958.063125</c:v>
                </c:pt>
                <c:pt idx="315">
                  <c:v>2245.55820833333</c:v>
                </c:pt>
                <c:pt idx="316">
                  <c:v>1918.86162499999</c:v>
                </c:pt>
                <c:pt idx="317">
                  <c:v>2000.08429166666</c:v>
                </c:pt>
                <c:pt idx="318">
                  <c:v>1909.68320833333</c:v>
                </c:pt>
                <c:pt idx="319">
                  <c:v>2065.28845833333</c:v>
                </c:pt>
                <c:pt idx="320">
                  <c:v>1660.33879166666</c:v>
                </c:pt>
                <c:pt idx="321">
                  <c:v>1883.58904166666</c:v>
                </c:pt>
                <c:pt idx="322">
                  <c:v>1905.79729166666</c:v>
                </c:pt>
                <c:pt idx="323">
                  <c:v>2126.854125</c:v>
                </c:pt>
                <c:pt idx="324">
                  <c:v>2100.21645833333</c:v>
                </c:pt>
                <c:pt idx="325">
                  <c:v>2545.14741666666</c:v>
                </c:pt>
                <c:pt idx="326">
                  <c:v>2023.94958333333</c:v>
                </c:pt>
                <c:pt idx="327">
                  <c:v>2276.050125</c:v>
                </c:pt>
                <c:pt idx="328">
                  <c:v>1991.160125</c:v>
                </c:pt>
                <c:pt idx="329">
                  <c:v>2287.93870833333</c:v>
                </c:pt>
                <c:pt idx="330">
                  <c:v>1849.92329166666</c:v>
                </c:pt>
                <c:pt idx="331">
                  <c:v>2194.12920833333</c:v>
                </c:pt>
                <c:pt idx="332">
                  <c:v>1790.38795833333</c:v>
                </c:pt>
                <c:pt idx="333">
                  <c:v>2141.336375</c:v>
                </c:pt>
                <c:pt idx="334">
                  <c:v>2057.93349999999</c:v>
                </c:pt>
                <c:pt idx="335">
                  <c:v>2406.06816666666</c:v>
                </c:pt>
                <c:pt idx="336">
                  <c:v>2095.86541666666</c:v>
                </c:pt>
                <c:pt idx="337">
                  <c:v>2445.301</c:v>
                </c:pt>
                <c:pt idx="338">
                  <c:v>2086.92258333333</c:v>
                </c:pt>
                <c:pt idx="339">
                  <c:v>2370.00979166666</c:v>
                </c:pt>
                <c:pt idx="340">
                  <c:v>2085.08641666666</c:v>
                </c:pt>
                <c:pt idx="341">
                  <c:v>2395.16129166666</c:v>
                </c:pt>
                <c:pt idx="342">
                  <c:v>2235.58866666666</c:v>
                </c:pt>
                <c:pt idx="343">
                  <c:v>2318.01045833333</c:v>
                </c:pt>
                <c:pt idx="344">
                  <c:v>2014.8761875</c:v>
                </c:pt>
                <c:pt idx="345">
                  <c:v>2078.22725</c:v>
                </c:pt>
                <c:pt idx="346">
                  <c:v>1914.3522</c:v>
                </c:pt>
                <c:pt idx="347">
                  <c:v>2149.40616666666</c:v>
                </c:pt>
                <c:pt idx="348">
                  <c:v>1990.13631818181</c:v>
                </c:pt>
                <c:pt idx="349">
                  <c:v>2258.92833333333</c:v>
                </c:pt>
                <c:pt idx="350">
                  <c:v>1961.3875</c:v>
                </c:pt>
                <c:pt idx="351">
                  <c:v>2335.626125</c:v>
                </c:pt>
                <c:pt idx="352">
                  <c:v>2000.83629166666</c:v>
                </c:pt>
                <c:pt idx="353">
                  <c:v>2338.03887499999</c:v>
                </c:pt>
                <c:pt idx="354">
                  <c:v>2019.33712499999</c:v>
                </c:pt>
                <c:pt idx="355">
                  <c:v>2289.04070833333</c:v>
                </c:pt>
                <c:pt idx="356">
                  <c:v>1994.43520833333</c:v>
                </c:pt>
                <c:pt idx="357">
                  <c:v>2222.37770833333</c:v>
                </c:pt>
                <c:pt idx="358">
                  <c:v>1792.535625</c:v>
                </c:pt>
                <c:pt idx="359">
                  <c:v>2035.47041666666</c:v>
                </c:pt>
                <c:pt idx="360">
                  <c:v>1825.59381249999</c:v>
                </c:pt>
                <c:pt idx="361">
                  <c:v>2076.48879166666</c:v>
                </c:pt>
                <c:pt idx="362">
                  <c:v>2384.762875</c:v>
                </c:pt>
                <c:pt idx="363">
                  <c:v>3175.5055</c:v>
                </c:pt>
                <c:pt idx="364">
                  <c:v>1879.307</c:v>
                </c:pt>
                <c:pt idx="365">
                  <c:v>2233.83775</c:v>
                </c:pt>
                <c:pt idx="366">
                  <c:v>2098.06265</c:v>
                </c:pt>
                <c:pt idx="367">
                  <c:v>2477.55145833333</c:v>
                </c:pt>
                <c:pt idx="368">
                  <c:v>1810.37575</c:v>
                </c:pt>
                <c:pt idx="369">
                  <c:v>2138.38879166666</c:v>
                </c:pt>
                <c:pt idx="370">
                  <c:v>1767.764</c:v>
                </c:pt>
                <c:pt idx="371">
                  <c:v>2166.1871</c:v>
                </c:pt>
                <c:pt idx="372">
                  <c:v>1971.05274999999</c:v>
                </c:pt>
                <c:pt idx="373">
                  <c:v>2203.15641666666</c:v>
                </c:pt>
                <c:pt idx="374">
                  <c:v>1859.28154166666</c:v>
                </c:pt>
                <c:pt idx="375">
                  <c:v>2249.01529166666</c:v>
                </c:pt>
                <c:pt idx="376">
                  <c:v>1922.16112499999</c:v>
                </c:pt>
                <c:pt idx="377">
                  <c:v>2221.432875</c:v>
                </c:pt>
                <c:pt idx="378">
                  <c:v>1745.832125</c:v>
                </c:pt>
                <c:pt idx="379">
                  <c:v>2018.58658333333</c:v>
                </c:pt>
                <c:pt idx="380">
                  <c:v>1857.62129166666</c:v>
                </c:pt>
                <c:pt idx="381">
                  <c:v>2091.56254166666</c:v>
                </c:pt>
                <c:pt idx="382">
                  <c:v>1880.002375</c:v>
                </c:pt>
                <c:pt idx="383">
                  <c:v>2144.029</c:v>
                </c:pt>
                <c:pt idx="384">
                  <c:v>1942.277375</c:v>
                </c:pt>
                <c:pt idx="385">
                  <c:v>2156.90508333333</c:v>
                </c:pt>
                <c:pt idx="386">
                  <c:v>1863.51966666666</c:v>
                </c:pt>
                <c:pt idx="387">
                  <c:v>2113.29420833333</c:v>
                </c:pt>
                <c:pt idx="388">
                  <c:v>1727.41979166666</c:v>
                </c:pt>
                <c:pt idx="389">
                  <c:v>2095.5535</c:v>
                </c:pt>
                <c:pt idx="390">
                  <c:v>1967.71812499999</c:v>
                </c:pt>
                <c:pt idx="391">
                  <c:v>2343.9105</c:v>
                </c:pt>
                <c:pt idx="392">
                  <c:v>2027.19783333333</c:v>
                </c:pt>
                <c:pt idx="393">
                  <c:v>2471.715625</c:v>
                </c:pt>
                <c:pt idx="394">
                  <c:v>2030.91945833333</c:v>
                </c:pt>
                <c:pt idx="395">
                  <c:v>2445.45320833333</c:v>
                </c:pt>
                <c:pt idx="396">
                  <c:v>2128.77466666666</c:v>
                </c:pt>
                <c:pt idx="397">
                  <c:v>2486.29025</c:v>
                </c:pt>
                <c:pt idx="398">
                  <c:v>2153.58625</c:v>
                </c:pt>
                <c:pt idx="399">
                  <c:v>2445.949875</c:v>
                </c:pt>
                <c:pt idx="400">
                  <c:v>1976.46641666666</c:v>
                </c:pt>
                <c:pt idx="401">
                  <c:v>2273.79779166666</c:v>
                </c:pt>
                <c:pt idx="402">
                  <c:v>1887.09054166666</c:v>
                </c:pt>
                <c:pt idx="403">
                  <c:v>2286.27645833333</c:v>
                </c:pt>
                <c:pt idx="404">
                  <c:v>2117.26695833333</c:v>
                </c:pt>
                <c:pt idx="405">
                  <c:v>2382.97833333333</c:v>
                </c:pt>
                <c:pt idx="406">
                  <c:v>2141.53866666666</c:v>
                </c:pt>
                <c:pt idx="407">
                  <c:v>2240.23416666666</c:v>
                </c:pt>
                <c:pt idx="408">
                  <c:v>1878.19175</c:v>
                </c:pt>
                <c:pt idx="409">
                  <c:v>2191.525625</c:v>
                </c:pt>
                <c:pt idx="410">
                  <c:v>1887.74637499999</c:v>
                </c:pt>
                <c:pt idx="411">
                  <c:v>2213.96283333333</c:v>
                </c:pt>
                <c:pt idx="412">
                  <c:v>1996.06308333333</c:v>
                </c:pt>
                <c:pt idx="413">
                  <c:v>2482.76925</c:v>
                </c:pt>
                <c:pt idx="414">
                  <c:v>1897.66616666666</c:v>
                </c:pt>
                <c:pt idx="415">
                  <c:v>2206.1185</c:v>
                </c:pt>
                <c:pt idx="416">
                  <c:v>1751.10304166666</c:v>
                </c:pt>
                <c:pt idx="417">
                  <c:v>2099.307625</c:v>
                </c:pt>
                <c:pt idx="418">
                  <c:v>2000.35366666666</c:v>
                </c:pt>
                <c:pt idx="419">
                  <c:v>2385.59849999999</c:v>
                </c:pt>
                <c:pt idx="420">
                  <c:v>2051.99195833333</c:v>
                </c:pt>
                <c:pt idx="421">
                  <c:v>2307.160125</c:v>
                </c:pt>
                <c:pt idx="422">
                  <c:v>1992.06812499999</c:v>
                </c:pt>
                <c:pt idx="423">
                  <c:v>2272.55004166666</c:v>
                </c:pt>
                <c:pt idx="424">
                  <c:v>2619.61275</c:v>
                </c:pt>
                <c:pt idx="425">
                  <c:v>3135.29141666666</c:v>
                </c:pt>
                <c:pt idx="426">
                  <c:v>2020.72577777777</c:v>
                </c:pt>
                <c:pt idx="427">
                  <c:v>2479.90366666666</c:v>
                </c:pt>
                <c:pt idx="428">
                  <c:v>2173.70583333333</c:v>
                </c:pt>
                <c:pt idx="429">
                  <c:v>2584.78358333333</c:v>
                </c:pt>
                <c:pt idx="430">
                  <c:v>2057.466</c:v>
                </c:pt>
                <c:pt idx="431">
                  <c:v>2659.63975</c:v>
                </c:pt>
                <c:pt idx="432">
                  <c:v>1999.15021428571</c:v>
                </c:pt>
                <c:pt idx="433">
                  <c:v>2072.13229166666</c:v>
                </c:pt>
                <c:pt idx="434">
                  <c:v>1795.002125</c:v>
                </c:pt>
                <c:pt idx="435">
                  <c:v>2046.49437499999</c:v>
                </c:pt>
                <c:pt idx="436">
                  <c:v>2152.072375</c:v>
                </c:pt>
                <c:pt idx="437">
                  <c:v>2471.39079166666</c:v>
                </c:pt>
                <c:pt idx="438">
                  <c:v>1920.27795833333</c:v>
                </c:pt>
                <c:pt idx="439">
                  <c:v>2274.86483333333</c:v>
                </c:pt>
                <c:pt idx="440">
                  <c:v>1595.48858333333</c:v>
                </c:pt>
                <c:pt idx="441">
                  <c:v>1906.04541666666</c:v>
                </c:pt>
                <c:pt idx="442">
                  <c:v>1899.76866666666</c:v>
                </c:pt>
                <c:pt idx="443">
                  <c:v>2168.54474999999</c:v>
                </c:pt>
                <c:pt idx="444">
                  <c:v>1893.92883333333</c:v>
                </c:pt>
                <c:pt idx="445">
                  <c:v>2163.90545833333</c:v>
                </c:pt>
                <c:pt idx="446">
                  <c:v>1709.37475</c:v>
                </c:pt>
                <c:pt idx="447">
                  <c:v>1969.11608333333</c:v>
                </c:pt>
                <c:pt idx="448">
                  <c:v>1981.62925</c:v>
                </c:pt>
                <c:pt idx="449">
                  <c:v>2265.6325</c:v>
                </c:pt>
                <c:pt idx="450">
                  <c:v>2017.86683333333</c:v>
                </c:pt>
                <c:pt idx="451">
                  <c:v>2272.41120833333</c:v>
                </c:pt>
                <c:pt idx="452">
                  <c:v>1957.98008333333</c:v>
                </c:pt>
                <c:pt idx="453">
                  <c:v>2410.05508333333</c:v>
                </c:pt>
                <c:pt idx="454">
                  <c:v>2061.58424999999</c:v>
                </c:pt>
                <c:pt idx="455">
                  <c:v>2334.32591666666</c:v>
                </c:pt>
                <c:pt idx="456">
                  <c:v>1791.68908333333</c:v>
                </c:pt>
                <c:pt idx="457">
                  <c:v>2115.05070833333</c:v>
                </c:pt>
                <c:pt idx="458">
                  <c:v>1725.135625</c:v>
                </c:pt>
                <c:pt idx="459">
                  <c:v>2079.96133333333</c:v>
                </c:pt>
                <c:pt idx="460">
                  <c:v>1869.921375</c:v>
                </c:pt>
                <c:pt idx="461">
                  <c:v>2151.50654166666</c:v>
                </c:pt>
                <c:pt idx="462">
                  <c:v>2009.341125</c:v>
                </c:pt>
                <c:pt idx="463">
                  <c:v>2258.47554166666</c:v>
                </c:pt>
                <c:pt idx="464">
                  <c:v>1953.27870833333</c:v>
                </c:pt>
                <c:pt idx="465">
                  <c:v>2179.17370833333</c:v>
                </c:pt>
                <c:pt idx="466">
                  <c:v>2002.07149999999</c:v>
                </c:pt>
                <c:pt idx="467">
                  <c:v>2190.58120833333</c:v>
                </c:pt>
                <c:pt idx="468">
                  <c:v>2238.64941666666</c:v>
                </c:pt>
                <c:pt idx="469">
                  <c:v>2101.758875</c:v>
                </c:pt>
                <c:pt idx="470">
                  <c:v>1744.84112499999</c:v>
                </c:pt>
                <c:pt idx="471">
                  <c:v>1955.663625</c:v>
                </c:pt>
                <c:pt idx="472">
                  <c:v>1709.34116666666</c:v>
                </c:pt>
                <c:pt idx="473">
                  <c:v>2090.60516666666</c:v>
                </c:pt>
                <c:pt idx="474">
                  <c:v>1930.23291666666</c:v>
                </c:pt>
                <c:pt idx="475">
                  <c:v>2252.14954166666</c:v>
                </c:pt>
                <c:pt idx="476">
                  <c:v>2025.5565</c:v>
                </c:pt>
                <c:pt idx="477">
                  <c:v>2431.169875</c:v>
                </c:pt>
                <c:pt idx="478">
                  <c:v>1985.14395833333</c:v>
                </c:pt>
                <c:pt idx="479">
                  <c:v>2232.04804166666</c:v>
                </c:pt>
                <c:pt idx="480">
                  <c:v>2000.48891666666</c:v>
                </c:pt>
                <c:pt idx="481">
                  <c:v>2244.60945833333</c:v>
                </c:pt>
                <c:pt idx="482">
                  <c:v>1956.49824999999</c:v>
                </c:pt>
                <c:pt idx="483">
                  <c:v>2234.69416666666</c:v>
                </c:pt>
                <c:pt idx="484">
                  <c:v>1764.02116666666</c:v>
                </c:pt>
                <c:pt idx="485">
                  <c:v>1984.90370833333</c:v>
                </c:pt>
                <c:pt idx="486">
                  <c:v>2259.34341666666</c:v>
                </c:pt>
                <c:pt idx="487">
                  <c:v>2360.62929166666</c:v>
                </c:pt>
                <c:pt idx="488">
                  <c:v>1846.40777272727</c:v>
                </c:pt>
                <c:pt idx="489">
                  <c:v>2621.36474999999</c:v>
                </c:pt>
                <c:pt idx="490">
                  <c:v>1922.99563636363</c:v>
                </c:pt>
                <c:pt idx="491">
                  <c:v>2474.15908333333</c:v>
                </c:pt>
                <c:pt idx="492">
                  <c:v>2056.328</c:v>
                </c:pt>
                <c:pt idx="493">
                  <c:v>2567.837625</c:v>
                </c:pt>
                <c:pt idx="494">
                  <c:v>2030.38058333333</c:v>
                </c:pt>
                <c:pt idx="495">
                  <c:v>2019.70716666666</c:v>
                </c:pt>
                <c:pt idx="496">
                  <c:v>1680.81474999999</c:v>
                </c:pt>
                <c:pt idx="497">
                  <c:v>2067.74695833333</c:v>
                </c:pt>
                <c:pt idx="498">
                  <c:v>2076.187375</c:v>
                </c:pt>
                <c:pt idx="499">
                  <c:v>2497.87379166666</c:v>
                </c:pt>
                <c:pt idx="500">
                  <c:v>1934.89733333333</c:v>
                </c:pt>
                <c:pt idx="501">
                  <c:v>2169.93679166666</c:v>
                </c:pt>
                <c:pt idx="502">
                  <c:v>1909.34512499999</c:v>
                </c:pt>
                <c:pt idx="503">
                  <c:v>2149.74941666666</c:v>
                </c:pt>
                <c:pt idx="504">
                  <c:v>1873.66083333333</c:v>
                </c:pt>
                <c:pt idx="505">
                  <c:v>2116.88016666666</c:v>
                </c:pt>
                <c:pt idx="506">
                  <c:v>1699.71541666666</c:v>
                </c:pt>
                <c:pt idx="507">
                  <c:v>2109.264875</c:v>
                </c:pt>
                <c:pt idx="508">
                  <c:v>1848.33954166666</c:v>
                </c:pt>
                <c:pt idx="509">
                  <c:v>2107.09733333333</c:v>
                </c:pt>
                <c:pt idx="510">
                  <c:v>2006.966125</c:v>
                </c:pt>
                <c:pt idx="511">
                  <c:v>2248.763</c:v>
                </c:pt>
                <c:pt idx="512">
                  <c:v>1784.022</c:v>
                </c:pt>
                <c:pt idx="513">
                  <c:v>2240.7225</c:v>
                </c:pt>
                <c:pt idx="514">
                  <c:v>1836.48533333333</c:v>
                </c:pt>
                <c:pt idx="515">
                  <c:v>2042.45633333333</c:v>
                </c:pt>
                <c:pt idx="516">
                  <c:v>2023.13179166666</c:v>
                </c:pt>
                <c:pt idx="517">
                  <c:v>2365.69899999999</c:v>
                </c:pt>
                <c:pt idx="518">
                  <c:v>2014.65874999999</c:v>
                </c:pt>
                <c:pt idx="519">
                  <c:v>2307.14987499999</c:v>
                </c:pt>
                <c:pt idx="520">
                  <c:v>2004.167125</c:v>
                </c:pt>
                <c:pt idx="521">
                  <c:v>2271.43324999999</c:v>
                </c:pt>
                <c:pt idx="522">
                  <c:v>1920.902125</c:v>
                </c:pt>
                <c:pt idx="523">
                  <c:v>2218.104</c:v>
                </c:pt>
                <c:pt idx="524">
                  <c:v>1970.10358333333</c:v>
                </c:pt>
                <c:pt idx="525">
                  <c:v>2213.64704166666</c:v>
                </c:pt>
                <c:pt idx="526">
                  <c:v>1732.70195833333</c:v>
                </c:pt>
                <c:pt idx="527">
                  <c:v>1933.2025</c:v>
                </c:pt>
                <c:pt idx="528">
                  <c:v>1784.03869999999</c:v>
                </c:pt>
                <c:pt idx="529">
                  <c:v>2104.99025</c:v>
                </c:pt>
                <c:pt idx="530">
                  <c:v>1969.7938125</c:v>
                </c:pt>
                <c:pt idx="531">
                  <c:v>2124.48358333333</c:v>
                </c:pt>
                <c:pt idx="532">
                  <c:v>1837.43941666666</c:v>
                </c:pt>
                <c:pt idx="533">
                  <c:v>2198.057625</c:v>
                </c:pt>
                <c:pt idx="534">
                  <c:v>1935.00420833333</c:v>
                </c:pt>
                <c:pt idx="535">
                  <c:v>2156.934375</c:v>
                </c:pt>
                <c:pt idx="536">
                  <c:v>1926.1875</c:v>
                </c:pt>
                <c:pt idx="537">
                  <c:v>2214.951625</c:v>
                </c:pt>
                <c:pt idx="538">
                  <c:v>1951.085125</c:v>
                </c:pt>
                <c:pt idx="539">
                  <c:v>2127.36279166666</c:v>
                </c:pt>
                <c:pt idx="540">
                  <c:v>1725.21108333333</c:v>
                </c:pt>
                <c:pt idx="541">
                  <c:v>1899.99741666666</c:v>
                </c:pt>
                <c:pt idx="542">
                  <c:v>1602.69004166666</c:v>
                </c:pt>
                <c:pt idx="543">
                  <c:v>1989.90491666666</c:v>
                </c:pt>
                <c:pt idx="544">
                  <c:v>1684.19170833333</c:v>
                </c:pt>
                <c:pt idx="545">
                  <c:v>1953.33245833333</c:v>
                </c:pt>
                <c:pt idx="546">
                  <c:v>2007.64449999999</c:v>
                </c:pt>
                <c:pt idx="547">
                  <c:v>2220.78666666666</c:v>
                </c:pt>
                <c:pt idx="548">
                  <c:v>1886.12816666666</c:v>
                </c:pt>
                <c:pt idx="549">
                  <c:v>2790.45141666666</c:v>
                </c:pt>
                <c:pt idx="550">
                  <c:v>1962.53995833333</c:v>
                </c:pt>
                <c:pt idx="551">
                  <c:v>2332.38454166666</c:v>
                </c:pt>
                <c:pt idx="552">
                  <c:v>2132.88175</c:v>
                </c:pt>
                <c:pt idx="553">
                  <c:v>2626.24604166666</c:v>
                </c:pt>
                <c:pt idx="554">
                  <c:v>2052.88066666666</c:v>
                </c:pt>
                <c:pt idx="555">
                  <c:v>1989.07779166666</c:v>
                </c:pt>
                <c:pt idx="556">
                  <c:v>1942.30254166666</c:v>
                </c:pt>
                <c:pt idx="557">
                  <c:v>2247.85679166666</c:v>
                </c:pt>
                <c:pt idx="558">
                  <c:v>2029.94787499999</c:v>
                </c:pt>
                <c:pt idx="559">
                  <c:v>2304.03929166666</c:v>
                </c:pt>
                <c:pt idx="560">
                  <c:v>1755.53504166666</c:v>
                </c:pt>
                <c:pt idx="561">
                  <c:v>2048.38716666666</c:v>
                </c:pt>
                <c:pt idx="562">
                  <c:v>1943.12725</c:v>
                </c:pt>
                <c:pt idx="563">
                  <c:v>2243.94925</c:v>
                </c:pt>
                <c:pt idx="564">
                  <c:v>1881.12570833333</c:v>
                </c:pt>
                <c:pt idx="565">
                  <c:v>2096.140125</c:v>
                </c:pt>
                <c:pt idx="566">
                  <c:v>1722.93383333333</c:v>
                </c:pt>
                <c:pt idx="567">
                  <c:v>2293.70854166666</c:v>
                </c:pt>
                <c:pt idx="568">
                  <c:v>1850.04408333333</c:v>
                </c:pt>
                <c:pt idx="569">
                  <c:v>2374.06416666666</c:v>
                </c:pt>
                <c:pt idx="570">
                  <c:v>1611.22</c:v>
                </c:pt>
                <c:pt idx="571">
                  <c:v>1846.55791666666</c:v>
                </c:pt>
                <c:pt idx="572">
                  <c:v>1799.310375</c:v>
                </c:pt>
                <c:pt idx="573">
                  <c:v>2070.29945833333</c:v>
                </c:pt>
                <c:pt idx="574">
                  <c:v>1832.39116666666</c:v>
                </c:pt>
                <c:pt idx="575">
                  <c:v>2099.49795833333</c:v>
                </c:pt>
                <c:pt idx="576">
                  <c:v>1845.81924999999</c:v>
                </c:pt>
                <c:pt idx="577">
                  <c:v>2042.69916666666</c:v>
                </c:pt>
                <c:pt idx="578">
                  <c:v>1838.79779166666</c:v>
                </c:pt>
                <c:pt idx="579">
                  <c:v>2088.83558333333</c:v>
                </c:pt>
                <c:pt idx="580">
                  <c:v>1883.367125</c:v>
                </c:pt>
                <c:pt idx="581">
                  <c:v>2092.37133333333</c:v>
                </c:pt>
                <c:pt idx="582">
                  <c:v>1741.1715</c:v>
                </c:pt>
                <c:pt idx="583">
                  <c:v>2051.60645833333</c:v>
                </c:pt>
                <c:pt idx="584">
                  <c:v>1642.181625</c:v>
                </c:pt>
                <c:pt idx="585">
                  <c:v>1924.98241666666</c:v>
                </c:pt>
                <c:pt idx="586">
                  <c:v>1831.92758333333</c:v>
                </c:pt>
                <c:pt idx="587">
                  <c:v>2062.153625</c:v>
                </c:pt>
                <c:pt idx="588">
                  <c:v>1844.183375</c:v>
                </c:pt>
                <c:pt idx="589">
                  <c:v>2069.80945833333</c:v>
                </c:pt>
                <c:pt idx="590">
                  <c:v>1826.20020833333</c:v>
                </c:pt>
                <c:pt idx="591">
                  <c:v>2041.88616666666</c:v>
                </c:pt>
                <c:pt idx="592">
                  <c:v>1819.07708333333</c:v>
                </c:pt>
                <c:pt idx="593">
                  <c:v>2089.33404166666</c:v>
                </c:pt>
                <c:pt idx="594">
                  <c:v>1807.22899999999</c:v>
                </c:pt>
                <c:pt idx="595">
                  <c:v>2062.937625</c:v>
                </c:pt>
                <c:pt idx="596">
                  <c:v>1688.17129166666</c:v>
                </c:pt>
                <c:pt idx="597">
                  <c:v>1882.361125</c:v>
                </c:pt>
                <c:pt idx="598">
                  <c:v>1591.99795833333</c:v>
                </c:pt>
                <c:pt idx="599">
                  <c:v>1926.10125</c:v>
                </c:pt>
                <c:pt idx="600">
                  <c:v>1874.92641666666</c:v>
                </c:pt>
                <c:pt idx="601">
                  <c:v>2207.34833333333</c:v>
                </c:pt>
                <c:pt idx="602">
                  <c:v>1911.436125</c:v>
                </c:pt>
                <c:pt idx="603">
                  <c:v>2309.99241666666</c:v>
                </c:pt>
                <c:pt idx="604">
                  <c:v>1934.67541666666</c:v>
                </c:pt>
                <c:pt idx="605">
                  <c:v>2446.97529166666</c:v>
                </c:pt>
                <c:pt idx="606">
                  <c:v>1950.04379166666</c:v>
                </c:pt>
                <c:pt idx="607">
                  <c:v>2245.54358333333</c:v>
                </c:pt>
                <c:pt idx="608">
                  <c:v>2055.88925</c:v>
                </c:pt>
                <c:pt idx="609">
                  <c:v>2244.63725</c:v>
                </c:pt>
                <c:pt idx="610">
                  <c:v>2363.62954166666</c:v>
                </c:pt>
                <c:pt idx="611">
                  <c:v>3211.52324999999</c:v>
                </c:pt>
                <c:pt idx="612">
                  <c:v>2147.26883333333</c:v>
                </c:pt>
                <c:pt idx="613">
                  <c:v>2340.14141666666</c:v>
                </c:pt>
                <c:pt idx="614">
                  <c:v>2180.680125</c:v>
                </c:pt>
                <c:pt idx="615">
                  <c:v>2606.26066666666</c:v>
                </c:pt>
                <c:pt idx="616">
                  <c:v>1593.28204166666</c:v>
                </c:pt>
                <c:pt idx="617">
                  <c:v>1816.42308333333</c:v>
                </c:pt>
                <c:pt idx="618">
                  <c:v>2012.89008333333</c:v>
                </c:pt>
                <c:pt idx="619">
                  <c:v>2323.33687499999</c:v>
                </c:pt>
                <c:pt idx="620">
                  <c:v>2038.519125</c:v>
                </c:pt>
                <c:pt idx="621">
                  <c:v>2540.80845833333</c:v>
                </c:pt>
                <c:pt idx="622">
                  <c:v>1708.62170833333</c:v>
                </c:pt>
                <c:pt idx="623">
                  <c:v>2016.76895833333</c:v>
                </c:pt>
                <c:pt idx="624">
                  <c:v>1949.906625</c:v>
                </c:pt>
                <c:pt idx="625">
                  <c:v>2290.60125</c:v>
                </c:pt>
                <c:pt idx="626">
                  <c:v>1880.72729166666</c:v>
                </c:pt>
                <c:pt idx="627">
                  <c:v>2154.90604166666</c:v>
                </c:pt>
                <c:pt idx="628">
                  <c:v>1956.88375</c:v>
                </c:pt>
                <c:pt idx="629">
                  <c:v>2342.821625</c:v>
                </c:pt>
                <c:pt idx="630">
                  <c:v>2046.51670833333</c:v>
                </c:pt>
                <c:pt idx="631">
                  <c:v>2574.933375</c:v>
                </c:pt>
                <c:pt idx="632">
                  <c:v>1838.41791666666</c:v>
                </c:pt>
                <c:pt idx="633">
                  <c:v>2156.31995833333</c:v>
                </c:pt>
                <c:pt idx="634">
                  <c:v>1879.32187499999</c:v>
                </c:pt>
                <c:pt idx="635">
                  <c:v>2407.23104166666</c:v>
                </c:pt>
                <c:pt idx="636">
                  <c:v>1984.76958333333</c:v>
                </c:pt>
                <c:pt idx="637">
                  <c:v>2474.53420833333</c:v>
                </c:pt>
                <c:pt idx="638">
                  <c:v>1896.93095833333</c:v>
                </c:pt>
                <c:pt idx="639">
                  <c:v>2473.40729166666</c:v>
                </c:pt>
                <c:pt idx="640">
                  <c:v>1830.451625</c:v>
                </c:pt>
                <c:pt idx="641">
                  <c:v>2146.01333333333</c:v>
                </c:pt>
                <c:pt idx="642">
                  <c:v>1967.22974999999</c:v>
                </c:pt>
                <c:pt idx="643">
                  <c:v>2182.494</c:v>
                </c:pt>
                <c:pt idx="644">
                  <c:v>1929.89377777777</c:v>
                </c:pt>
                <c:pt idx="645">
                  <c:v>2045.63636363636</c:v>
                </c:pt>
                <c:pt idx="646">
                  <c:v>1880.09085714285</c:v>
                </c:pt>
                <c:pt idx="647">
                  <c:v>2085.98975</c:v>
                </c:pt>
                <c:pt idx="648">
                  <c:v>2014.6393125</c:v>
                </c:pt>
                <c:pt idx="649">
                  <c:v>2325.59958333333</c:v>
                </c:pt>
                <c:pt idx="650">
                  <c:v>1960.05679166666</c:v>
                </c:pt>
                <c:pt idx="651">
                  <c:v>2341.87466666666</c:v>
                </c:pt>
                <c:pt idx="652">
                  <c:v>1722.6105</c:v>
                </c:pt>
                <c:pt idx="653">
                  <c:v>2026.191375</c:v>
                </c:pt>
                <c:pt idx="654">
                  <c:v>1621.52129166666</c:v>
                </c:pt>
                <c:pt idx="655">
                  <c:v>1833.590125</c:v>
                </c:pt>
                <c:pt idx="656">
                  <c:v>1763.492875</c:v>
                </c:pt>
                <c:pt idx="657">
                  <c:v>2059.60249999999</c:v>
                </c:pt>
                <c:pt idx="658">
                  <c:v>1995.29342857142</c:v>
                </c:pt>
                <c:pt idx="659">
                  <c:v>2089.67854166666</c:v>
                </c:pt>
                <c:pt idx="660">
                  <c:v>1968.56105555555</c:v>
                </c:pt>
                <c:pt idx="661">
                  <c:v>2332.91908333333</c:v>
                </c:pt>
                <c:pt idx="662">
                  <c:v>2027.29349999999</c:v>
                </c:pt>
                <c:pt idx="663">
                  <c:v>2408.96666666666</c:v>
                </c:pt>
                <c:pt idx="664">
                  <c:v>2020.800875</c:v>
                </c:pt>
                <c:pt idx="665">
                  <c:v>2143.77416666666</c:v>
                </c:pt>
                <c:pt idx="666">
                  <c:v>1733.66625</c:v>
                </c:pt>
                <c:pt idx="667">
                  <c:v>1938.42895833333</c:v>
                </c:pt>
                <c:pt idx="668">
                  <c:v>1811.34920833333</c:v>
                </c:pt>
                <c:pt idx="669">
                  <c:v>2407.55220833333</c:v>
                </c:pt>
                <c:pt idx="670">
                  <c:v>2557.52991666666</c:v>
                </c:pt>
                <c:pt idx="671">
                  <c:v>3343.20679166666</c:v>
                </c:pt>
                <c:pt idx="672">
                  <c:v>1855.55504166666</c:v>
                </c:pt>
                <c:pt idx="673">
                  <c:v>2107.13554166666</c:v>
                </c:pt>
                <c:pt idx="674">
                  <c:v>2148.76162499999</c:v>
                </c:pt>
                <c:pt idx="675">
                  <c:v>2362.40445833333</c:v>
                </c:pt>
                <c:pt idx="676">
                  <c:v>1645.9033</c:v>
                </c:pt>
                <c:pt idx="677">
                  <c:v>1852.95022727272</c:v>
                </c:pt>
                <c:pt idx="678">
                  <c:v>2100.81445</c:v>
                </c:pt>
                <c:pt idx="679">
                  <c:v>2257.85349999999</c:v>
                </c:pt>
                <c:pt idx="680">
                  <c:v>2056.586625</c:v>
                </c:pt>
                <c:pt idx="681">
                  <c:v>2275.60616666666</c:v>
                </c:pt>
                <c:pt idx="682">
                  <c:v>1961.332875</c:v>
                </c:pt>
                <c:pt idx="683">
                  <c:v>2277.71670833333</c:v>
                </c:pt>
                <c:pt idx="684">
                  <c:v>1943.82499999999</c:v>
                </c:pt>
                <c:pt idx="685">
                  <c:v>2235.05154166666</c:v>
                </c:pt>
                <c:pt idx="686">
                  <c:v>1723.949625</c:v>
                </c:pt>
                <c:pt idx="687">
                  <c:v>1901.24691666666</c:v>
                </c:pt>
                <c:pt idx="688">
                  <c:v>1893.21308333333</c:v>
                </c:pt>
                <c:pt idx="689">
                  <c:v>2235.23520833333</c:v>
                </c:pt>
                <c:pt idx="690">
                  <c:v>2172.78420833333</c:v>
                </c:pt>
                <c:pt idx="691">
                  <c:v>2876.38424999999</c:v>
                </c:pt>
                <c:pt idx="692">
                  <c:v>2270.68025</c:v>
                </c:pt>
                <c:pt idx="693">
                  <c:v>3024.13345833333</c:v>
                </c:pt>
                <c:pt idx="694">
                  <c:v>2140.97379166666</c:v>
                </c:pt>
                <c:pt idx="695">
                  <c:v>2883.38633333333</c:v>
                </c:pt>
                <c:pt idx="696">
                  <c:v>2117.80129166666</c:v>
                </c:pt>
                <c:pt idx="697">
                  <c:v>2926.39679166666</c:v>
                </c:pt>
                <c:pt idx="698">
                  <c:v>2367.222625</c:v>
                </c:pt>
                <c:pt idx="699">
                  <c:v>3195.300125</c:v>
                </c:pt>
                <c:pt idx="700">
                  <c:v>2338.93441666666</c:v>
                </c:pt>
                <c:pt idx="701">
                  <c:v>2643.50179166666</c:v>
                </c:pt>
                <c:pt idx="702">
                  <c:v>2096.20741666666</c:v>
                </c:pt>
                <c:pt idx="703">
                  <c:v>2410.14495833333</c:v>
                </c:pt>
                <c:pt idx="704">
                  <c:v>2059.38004166666</c:v>
                </c:pt>
                <c:pt idx="705">
                  <c:v>2394.10775</c:v>
                </c:pt>
                <c:pt idx="706">
                  <c:v>1972.16495833333</c:v>
                </c:pt>
                <c:pt idx="707">
                  <c:v>2230.0865</c:v>
                </c:pt>
                <c:pt idx="708">
                  <c:v>1787.87870833333</c:v>
                </c:pt>
                <c:pt idx="709">
                  <c:v>1997.304125</c:v>
                </c:pt>
                <c:pt idx="710">
                  <c:v>1729.95091666666</c:v>
                </c:pt>
                <c:pt idx="711">
                  <c:v>2047.0395</c:v>
                </c:pt>
                <c:pt idx="712">
                  <c:v>1953.64370833333</c:v>
                </c:pt>
                <c:pt idx="713">
                  <c:v>2451.742875</c:v>
                </c:pt>
                <c:pt idx="714">
                  <c:v>1992.57287499999</c:v>
                </c:pt>
                <c:pt idx="715">
                  <c:v>2288.72925</c:v>
                </c:pt>
                <c:pt idx="716">
                  <c:v>1741.06274999999</c:v>
                </c:pt>
                <c:pt idx="717">
                  <c:v>1948.48549999999</c:v>
                </c:pt>
                <c:pt idx="718">
                  <c:v>1686.002375</c:v>
                </c:pt>
                <c:pt idx="719">
                  <c:v>2049.07045833333</c:v>
                </c:pt>
                <c:pt idx="720">
                  <c:v>1898.97333333333</c:v>
                </c:pt>
                <c:pt idx="721">
                  <c:v>2160.010125</c:v>
                </c:pt>
                <c:pt idx="722">
                  <c:v>1749.87186363636</c:v>
                </c:pt>
                <c:pt idx="723">
                  <c:v>2125.454375</c:v>
                </c:pt>
                <c:pt idx="724">
                  <c:v>1779.80779166666</c:v>
                </c:pt>
                <c:pt idx="725">
                  <c:v>2286.21641666666</c:v>
                </c:pt>
                <c:pt idx="726">
                  <c:v>1982.47729166666</c:v>
                </c:pt>
                <c:pt idx="727">
                  <c:v>2385.11704166666</c:v>
                </c:pt>
                <c:pt idx="728">
                  <c:v>1959.64729166666</c:v>
                </c:pt>
                <c:pt idx="729">
                  <c:v>2134.082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611-42D3-B6EA-B1B84E2024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12877768"/>
        <c:axId val="-2112146600"/>
      </c:scatterChart>
      <c:valAx>
        <c:axId val="-2112877768"/>
        <c:scaling>
          <c:orientation val="minMax"/>
        </c:scaling>
        <c:delete val="0"/>
        <c:axPos val="b"/>
        <c:majorGridlines/>
        <c:numFmt formatCode="&quot;$&quot;#,##0" sourceLinked="0"/>
        <c:majorTickMark val="none"/>
        <c:minorTickMark val="none"/>
        <c:tickLblPos val="nextTo"/>
        <c:crossAx val="-2112146600"/>
        <c:crosses val="autoZero"/>
        <c:crossBetween val="midCat"/>
      </c:valAx>
      <c:valAx>
        <c:axId val="-2112146600"/>
        <c:scaling>
          <c:orientation val="minMax"/>
        </c:scaling>
        <c:delete val="0"/>
        <c:axPos val="l"/>
        <c:majorGridlines/>
        <c:numFmt formatCode="0" sourceLinked="0"/>
        <c:majorTickMark val="none"/>
        <c:minorTickMark val="none"/>
        <c:tickLblPos val="nextTo"/>
        <c:crossAx val="-2112877768"/>
        <c:crosses val="autoZero"/>
        <c:crossBetween val="midCat"/>
      </c:valAx>
    </c:plotArea>
    <c:legend>
      <c:legendPos val="t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dirty="0"/>
              <a:t>Hard Water </a:t>
            </a:r>
            <a:r>
              <a:rPr lang="en-US" sz="1200" dirty="0" smtClean="0"/>
              <a:t>Volume (low$86/high$114)</a:t>
            </a:r>
            <a:endParaRPr lang="en-US" sz="1200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63501918443283"/>
          <c:y val="0.194999299224707"/>
          <c:w val="0.734085969527385"/>
          <c:h val="0.754564307085879"/>
        </c:manualLayout>
      </c:layout>
      <c:scatterChart>
        <c:scatterStyle val="lineMarker"/>
        <c:varyColors val="0"/>
        <c:ser>
          <c:idx val="0"/>
          <c:order val="0"/>
          <c:tx>
            <c:v>Hard Water Volume</c:v>
          </c:tx>
          <c:spPr>
            <a:ln w="31750">
              <a:noFill/>
            </a:ln>
          </c:spPr>
          <c:marker>
            <c:spPr>
              <a:solidFill>
                <a:srgbClr val="0000FF"/>
              </a:solidFill>
            </c:spPr>
          </c:marker>
          <c:xVal>
            <c:numRef>
              <c:f>'Water Trading Repository Table'!$C$733:$C$1462</c:f>
              <c:numCache>
                <c:formatCode>"$"#,##0.00</c:formatCode>
                <c:ptCount val="730"/>
                <c:pt idx="0">
                  <c:v>108.187499999999</c:v>
                </c:pt>
                <c:pt idx="1">
                  <c:v>111.245</c:v>
                </c:pt>
                <c:pt idx="2">
                  <c:v>110.513333333333</c:v>
                </c:pt>
                <c:pt idx="3">
                  <c:v>109.415</c:v>
                </c:pt>
                <c:pt idx="4">
                  <c:v>109.898333333333</c:v>
                </c:pt>
                <c:pt idx="5">
                  <c:v>111.870833333333</c:v>
                </c:pt>
                <c:pt idx="6">
                  <c:v>108.641</c:v>
                </c:pt>
                <c:pt idx="7">
                  <c:v>112.475</c:v>
                </c:pt>
                <c:pt idx="8">
                  <c:v>111.093333333333</c:v>
                </c:pt>
                <c:pt idx="9">
                  <c:v>111.433636363636</c:v>
                </c:pt>
                <c:pt idx="10">
                  <c:v>110.707</c:v>
                </c:pt>
                <c:pt idx="11">
                  <c:v>108.410833333333</c:v>
                </c:pt>
                <c:pt idx="12">
                  <c:v>110.375833333333</c:v>
                </c:pt>
                <c:pt idx="13">
                  <c:v>110.207499999999</c:v>
                </c:pt>
                <c:pt idx="14">
                  <c:v>111.74</c:v>
                </c:pt>
                <c:pt idx="15">
                  <c:v>111.213333333333</c:v>
                </c:pt>
                <c:pt idx="16">
                  <c:v>108.968333333333</c:v>
                </c:pt>
                <c:pt idx="17">
                  <c:v>109.2625</c:v>
                </c:pt>
                <c:pt idx="18">
                  <c:v>110.199</c:v>
                </c:pt>
                <c:pt idx="19">
                  <c:v>111.273333333333</c:v>
                </c:pt>
                <c:pt idx="20">
                  <c:v>109.4875</c:v>
                </c:pt>
                <c:pt idx="21">
                  <c:v>110.505</c:v>
                </c:pt>
                <c:pt idx="22">
                  <c:v>109.098333333333</c:v>
                </c:pt>
                <c:pt idx="23">
                  <c:v>110.826666666666</c:v>
                </c:pt>
                <c:pt idx="24">
                  <c:v>111.049166666666</c:v>
                </c:pt>
                <c:pt idx="25">
                  <c:v>109.829166666666</c:v>
                </c:pt>
                <c:pt idx="26">
                  <c:v>110.7</c:v>
                </c:pt>
                <c:pt idx="27">
                  <c:v>109.087499999999</c:v>
                </c:pt>
                <c:pt idx="28">
                  <c:v>109.721666666666</c:v>
                </c:pt>
                <c:pt idx="29">
                  <c:v>111.226666666666</c:v>
                </c:pt>
                <c:pt idx="30">
                  <c:v>112.73</c:v>
                </c:pt>
                <c:pt idx="31">
                  <c:v>111.525</c:v>
                </c:pt>
                <c:pt idx="32">
                  <c:v>110.448333333333</c:v>
                </c:pt>
                <c:pt idx="33">
                  <c:v>109.194166666666</c:v>
                </c:pt>
                <c:pt idx="34">
                  <c:v>112.3375</c:v>
                </c:pt>
                <c:pt idx="35">
                  <c:v>109.475</c:v>
                </c:pt>
                <c:pt idx="36">
                  <c:v>109.988571428571</c:v>
                </c:pt>
                <c:pt idx="37">
                  <c:v>110.447499999999</c:v>
                </c:pt>
                <c:pt idx="38">
                  <c:v>109.126666666666</c:v>
                </c:pt>
                <c:pt idx="39">
                  <c:v>111.745833333333</c:v>
                </c:pt>
                <c:pt idx="40">
                  <c:v>110.930833333333</c:v>
                </c:pt>
                <c:pt idx="41">
                  <c:v>110.345833333333</c:v>
                </c:pt>
                <c:pt idx="42">
                  <c:v>110.689999999999</c:v>
                </c:pt>
                <c:pt idx="43">
                  <c:v>111.839166666666</c:v>
                </c:pt>
                <c:pt idx="44">
                  <c:v>111.340833333333</c:v>
                </c:pt>
                <c:pt idx="45">
                  <c:v>111.143333333333</c:v>
                </c:pt>
                <c:pt idx="46">
                  <c:v>110.728181818181</c:v>
                </c:pt>
                <c:pt idx="47">
                  <c:v>110.1</c:v>
                </c:pt>
                <c:pt idx="48">
                  <c:v>111.549166666666</c:v>
                </c:pt>
                <c:pt idx="49">
                  <c:v>110.77</c:v>
                </c:pt>
                <c:pt idx="50">
                  <c:v>109.4325</c:v>
                </c:pt>
                <c:pt idx="51">
                  <c:v>110.096666666666</c:v>
                </c:pt>
                <c:pt idx="52">
                  <c:v>110.041666666666</c:v>
                </c:pt>
                <c:pt idx="53">
                  <c:v>111.239166666666</c:v>
                </c:pt>
                <c:pt idx="54">
                  <c:v>110.66</c:v>
                </c:pt>
                <c:pt idx="55">
                  <c:v>110.686666666666</c:v>
                </c:pt>
                <c:pt idx="56">
                  <c:v>110.626666666666</c:v>
                </c:pt>
                <c:pt idx="57">
                  <c:v>111.218333333333</c:v>
                </c:pt>
                <c:pt idx="58">
                  <c:v>110.458333333333</c:v>
                </c:pt>
                <c:pt idx="59">
                  <c:v>109.5825</c:v>
                </c:pt>
                <c:pt idx="60">
                  <c:v>110.054166666666</c:v>
                </c:pt>
                <c:pt idx="61">
                  <c:v>110.781666666666</c:v>
                </c:pt>
                <c:pt idx="62">
                  <c:v>112.41</c:v>
                </c:pt>
                <c:pt idx="63">
                  <c:v>110.198333333333</c:v>
                </c:pt>
                <c:pt idx="64">
                  <c:v>110.217499999999</c:v>
                </c:pt>
                <c:pt idx="65">
                  <c:v>110.13</c:v>
                </c:pt>
                <c:pt idx="66">
                  <c:v>109.869999999999</c:v>
                </c:pt>
                <c:pt idx="67">
                  <c:v>110.466666666666</c:v>
                </c:pt>
                <c:pt idx="68">
                  <c:v>110.5425</c:v>
                </c:pt>
                <c:pt idx="69">
                  <c:v>110.200833333333</c:v>
                </c:pt>
                <c:pt idx="70">
                  <c:v>111.087499999999</c:v>
                </c:pt>
                <c:pt idx="71">
                  <c:v>111.925833333333</c:v>
                </c:pt>
                <c:pt idx="72">
                  <c:v>112.255</c:v>
                </c:pt>
                <c:pt idx="73">
                  <c:v>109.486666666666</c:v>
                </c:pt>
                <c:pt idx="74">
                  <c:v>109.698333333333</c:v>
                </c:pt>
                <c:pt idx="75">
                  <c:v>111.646666666666</c:v>
                </c:pt>
                <c:pt idx="76">
                  <c:v>111.567777777777</c:v>
                </c:pt>
                <c:pt idx="77">
                  <c:v>109.755833333333</c:v>
                </c:pt>
                <c:pt idx="78">
                  <c:v>109.170909090909</c:v>
                </c:pt>
                <c:pt idx="79">
                  <c:v>111.1325</c:v>
                </c:pt>
                <c:pt idx="80">
                  <c:v>109.654166666666</c:v>
                </c:pt>
                <c:pt idx="81">
                  <c:v>109.68</c:v>
                </c:pt>
                <c:pt idx="82">
                  <c:v>110.405833333333</c:v>
                </c:pt>
                <c:pt idx="83">
                  <c:v>112.8225</c:v>
                </c:pt>
                <c:pt idx="84">
                  <c:v>110.1425</c:v>
                </c:pt>
                <c:pt idx="85">
                  <c:v>109.690833333333</c:v>
                </c:pt>
                <c:pt idx="86">
                  <c:v>109.825833333333</c:v>
                </c:pt>
                <c:pt idx="87">
                  <c:v>111.9975</c:v>
                </c:pt>
                <c:pt idx="88">
                  <c:v>111.880833333333</c:v>
                </c:pt>
                <c:pt idx="89">
                  <c:v>112.263333333333</c:v>
                </c:pt>
                <c:pt idx="90">
                  <c:v>110.1575</c:v>
                </c:pt>
                <c:pt idx="91">
                  <c:v>111.238333333333</c:v>
                </c:pt>
                <c:pt idx="92">
                  <c:v>110.713333333333</c:v>
                </c:pt>
                <c:pt idx="93">
                  <c:v>109.839166666666</c:v>
                </c:pt>
                <c:pt idx="94">
                  <c:v>111.431666666666</c:v>
                </c:pt>
                <c:pt idx="95">
                  <c:v>111.125833333333</c:v>
                </c:pt>
                <c:pt idx="96">
                  <c:v>111.320999999999</c:v>
                </c:pt>
                <c:pt idx="97">
                  <c:v>111.665</c:v>
                </c:pt>
                <c:pt idx="98">
                  <c:v>111.086249999999</c:v>
                </c:pt>
                <c:pt idx="99">
                  <c:v>110.289166666666</c:v>
                </c:pt>
                <c:pt idx="100">
                  <c:v>111.447499999999</c:v>
                </c:pt>
                <c:pt idx="101">
                  <c:v>111.652499999999</c:v>
                </c:pt>
                <c:pt idx="102">
                  <c:v>110.511666666666</c:v>
                </c:pt>
                <c:pt idx="103">
                  <c:v>111.26</c:v>
                </c:pt>
                <c:pt idx="104">
                  <c:v>108.296666666666</c:v>
                </c:pt>
                <c:pt idx="105">
                  <c:v>110.400833333333</c:v>
                </c:pt>
                <c:pt idx="106">
                  <c:v>109.865</c:v>
                </c:pt>
                <c:pt idx="107">
                  <c:v>110.7425</c:v>
                </c:pt>
                <c:pt idx="108">
                  <c:v>110.730833333333</c:v>
                </c:pt>
                <c:pt idx="109">
                  <c:v>108.715833333333</c:v>
                </c:pt>
                <c:pt idx="110">
                  <c:v>109.4475</c:v>
                </c:pt>
                <c:pt idx="111">
                  <c:v>111.644999999999</c:v>
                </c:pt>
                <c:pt idx="112">
                  <c:v>111.014999999999</c:v>
                </c:pt>
                <c:pt idx="113">
                  <c:v>110.439166666666</c:v>
                </c:pt>
                <c:pt idx="114">
                  <c:v>109.7925</c:v>
                </c:pt>
                <c:pt idx="115">
                  <c:v>110.529166666666</c:v>
                </c:pt>
                <c:pt idx="116">
                  <c:v>110.634166666666</c:v>
                </c:pt>
                <c:pt idx="117">
                  <c:v>109.004166666666</c:v>
                </c:pt>
                <c:pt idx="118">
                  <c:v>110.425</c:v>
                </c:pt>
                <c:pt idx="119">
                  <c:v>110.660833333333</c:v>
                </c:pt>
                <c:pt idx="120">
                  <c:v>110.2175</c:v>
                </c:pt>
                <c:pt idx="121">
                  <c:v>109.5225</c:v>
                </c:pt>
                <c:pt idx="122">
                  <c:v>111.56</c:v>
                </c:pt>
                <c:pt idx="123">
                  <c:v>108.58</c:v>
                </c:pt>
                <c:pt idx="124">
                  <c:v>110.815833333333</c:v>
                </c:pt>
                <c:pt idx="125">
                  <c:v>110.408333333333</c:v>
                </c:pt>
                <c:pt idx="126">
                  <c:v>111.223333333333</c:v>
                </c:pt>
                <c:pt idx="127">
                  <c:v>109.500833333333</c:v>
                </c:pt>
                <c:pt idx="128">
                  <c:v>111.568888888888</c:v>
                </c:pt>
                <c:pt idx="129">
                  <c:v>109.425</c:v>
                </c:pt>
                <c:pt idx="130">
                  <c:v>110.594</c:v>
                </c:pt>
                <c:pt idx="131">
                  <c:v>111.001666666666</c:v>
                </c:pt>
                <c:pt idx="132">
                  <c:v>110.672222222222</c:v>
                </c:pt>
                <c:pt idx="133">
                  <c:v>110.750833333333</c:v>
                </c:pt>
                <c:pt idx="134">
                  <c:v>109.534545454545</c:v>
                </c:pt>
                <c:pt idx="135">
                  <c:v>111.825833333333</c:v>
                </c:pt>
                <c:pt idx="136">
                  <c:v>109.937499999999</c:v>
                </c:pt>
                <c:pt idx="137">
                  <c:v>110.033333333333</c:v>
                </c:pt>
                <c:pt idx="138">
                  <c:v>110.322499999999</c:v>
                </c:pt>
                <c:pt idx="139">
                  <c:v>112.010833333333</c:v>
                </c:pt>
                <c:pt idx="140">
                  <c:v>111.680833333333</c:v>
                </c:pt>
                <c:pt idx="141">
                  <c:v>110.705833333333</c:v>
                </c:pt>
                <c:pt idx="142">
                  <c:v>109.649999999999</c:v>
                </c:pt>
                <c:pt idx="143">
                  <c:v>110.38</c:v>
                </c:pt>
                <c:pt idx="144">
                  <c:v>112.0725</c:v>
                </c:pt>
                <c:pt idx="145">
                  <c:v>110.425454545454</c:v>
                </c:pt>
                <c:pt idx="146">
                  <c:v>107.849</c:v>
                </c:pt>
                <c:pt idx="147">
                  <c:v>109.603333333333</c:v>
                </c:pt>
                <c:pt idx="148">
                  <c:v>110.657142857142</c:v>
                </c:pt>
                <c:pt idx="149">
                  <c:v>110.185833333333</c:v>
                </c:pt>
                <c:pt idx="150">
                  <c:v>108.954999999999</c:v>
                </c:pt>
                <c:pt idx="151">
                  <c:v>111.346666666666</c:v>
                </c:pt>
                <c:pt idx="152">
                  <c:v>109.241666666666</c:v>
                </c:pt>
                <c:pt idx="153">
                  <c:v>110.784166666666</c:v>
                </c:pt>
                <c:pt idx="154">
                  <c:v>110.381666666666</c:v>
                </c:pt>
                <c:pt idx="155">
                  <c:v>110.847499999999</c:v>
                </c:pt>
                <c:pt idx="156">
                  <c:v>110.451666666666</c:v>
                </c:pt>
                <c:pt idx="157">
                  <c:v>110.620833333333</c:v>
                </c:pt>
                <c:pt idx="158">
                  <c:v>110.661818181818</c:v>
                </c:pt>
                <c:pt idx="159">
                  <c:v>109.991666666666</c:v>
                </c:pt>
                <c:pt idx="160">
                  <c:v>111.174444444444</c:v>
                </c:pt>
                <c:pt idx="161">
                  <c:v>111.3525</c:v>
                </c:pt>
                <c:pt idx="162">
                  <c:v>111.416249999999</c:v>
                </c:pt>
                <c:pt idx="163">
                  <c:v>112.174</c:v>
                </c:pt>
                <c:pt idx="164">
                  <c:v>109.81</c:v>
                </c:pt>
                <c:pt idx="165">
                  <c:v>108.751818181818</c:v>
                </c:pt>
                <c:pt idx="166">
                  <c:v>112.31875</c:v>
                </c:pt>
                <c:pt idx="167">
                  <c:v>110.475833333333</c:v>
                </c:pt>
                <c:pt idx="168">
                  <c:v>110.975714285714</c:v>
                </c:pt>
                <c:pt idx="169">
                  <c:v>109.715833333333</c:v>
                </c:pt>
                <c:pt idx="170">
                  <c:v>111.194166666666</c:v>
                </c:pt>
                <c:pt idx="171">
                  <c:v>111.438333333333</c:v>
                </c:pt>
                <c:pt idx="172">
                  <c:v>111.075555555555</c:v>
                </c:pt>
                <c:pt idx="173">
                  <c:v>111.923333333333</c:v>
                </c:pt>
                <c:pt idx="174">
                  <c:v>109.86</c:v>
                </c:pt>
                <c:pt idx="175">
                  <c:v>111.731111111111</c:v>
                </c:pt>
                <c:pt idx="176">
                  <c:v>109.65</c:v>
                </c:pt>
                <c:pt idx="177">
                  <c:v>109.644444444444</c:v>
                </c:pt>
                <c:pt idx="178">
                  <c:v>113.766666666666</c:v>
                </c:pt>
                <c:pt idx="179">
                  <c:v>109.075</c:v>
                </c:pt>
                <c:pt idx="180">
                  <c:v>94.1583333333333</c:v>
                </c:pt>
                <c:pt idx="181">
                  <c:v>95.01</c:v>
                </c:pt>
                <c:pt idx="182">
                  <c:v>97.0042857142857</c:v>
                </c:pt>
                <c:pt idx="183">
                  <c:v>91.095</c:v>
                </c:pt>
                <c:pt idx="184">
                  <c:v>93.65333333333329</c:v>
                </c:pt>
                <c:pt idx="185">
                  <c:v>93.1499999999999</c:v>
                </c:pt>
                <c:pt idx="186">
                  <c:v>91.3191666666666</c:v>
                </c:pt>
                <c:pt idx="187">
                  <c:v>92.2424999999999</c:v>
                </c:pt>
                <c:pt idx="188">
                  <c:v>94.6399999999999</c:v>
                </c:pt>
                <c:pt idx="189">
                  <c:v>93.1941666666666</c:v>
                </c:pt>
                <c:pt idx="190">
                  <c:v>93.35</c:v>
                </c:pt>
                <c:pt idx="191">
                  <c:v>90.4625</c:v>
                </c:pt>
                <c:pt idx="192">
                  <c:v>98.07</c:v>
                </c:pt>
                <c:pt idx="193">
                  <c:v>92.2858333333333</c:v>
                </c:pt>
                <c:pt idx="194">
                  <c:v>95.5274999999999</c:v>
                </c:pt>
                <c:pt idx="195">
                  <c:v>94.65333333333329</c:v>
                </c:pt>
                <c:pt idx="196">
                  <c:v>90.4866666666666</c:v>
                </c:pt>
                <c:pt idx="197">
                  <c:v>93.8391666666666</c:v>
                </c:pt>
                <c:pt idx="198">
                  <c:v>94.4691666666666</c:v>
                </c:pt>
                <c:pt idx="199">
                  <c:v>93.63249999999999</c:v>
                </c:pt>
                <c:pt idx="200">
                  <c:v>95.8958333333333</c:v>
                </c:pt>
                <c:pt idx="201">
                  <c:v>91.8391666666666</c:v>
                </c:pt>
                <c:pt idx="202">
                  <c:v>93.1374999999999</c:v>
                </c:pt>
                <c:pt idx="203">
                  <c:v>94.0925</c:v>
                </c:pt>
                <c:pt idx="204">
                  <c:v>92.8508333333333</c:v>
                </c:pt>
                <c:pt idx="205">
                  <c:v>95.7441666666666</c:v>
                </c:pt>
                <c:pt idx="206">
                  <c:v>92.7408333333333</c:v>
                </c:pt>
                <c:pt idx="207">
                  <c:v>90.0875</c:v>
                </c:pt>
                <c:pt idx="208">
                  <c:v>92.1524999999999</c:v>
                </c:pt>
                <c:pt idx="209">
                  <c:v>95.6875</c:v>
                </c:pt>
                <c:pt idx="210">
                  <c:v>91.1925</c:v>
                </c:pt>
                <c:pt idx="211">
                  <c:v>93.9166666666666</c:v>
                </c:pt>
                <c:pt idx="212">
                  <c:v>90.2541666666666</c:v>
                </c:pt>
                <c:pt idx="213">
                  <c:v>93.1008333333333</c:v>
                </c:pt>
                <c:pt idx="214">
                  <c:v>96.1633333333333</c:v>
                </c:pt>
                <c:pt idx="215">
                  <c:v>92.9725</c:v>
                </c:pt>
                <c:pt idx="216">
                  <c:v>88.9099999999999</c:v>
                </c:pt>
                <c:pt idx="217">
                  <c:v>93.1424999999999</c:v>
                </c:pt>
                <c:pt idx="218">
                  <c:v>93.2408333333333</c:v>
                </c:pt>
                <c:pt idx="219">
                  <c:v>91.87083333333329</c:v>
                </c:pt>
                <c:pt idx="220">
                  <c:v>92.87333333333331</c:v>
                </c:pt>
                <c:pt idx="221">
                  <c:v>88.7075</c:v>
                </c:pt>
                <c:pt idx="222">
                  <c:v>92.9283333333333</c:v>
                </c:pt>
                <c:pt idx="223">
                  <c:v>94.2166666666666</c:v>
                </c:pt>
                <c:pt idx="224">
                  <c:v>90.96833333333331</c:v>
                </c:pt>
                <c:pt idx="225">
                  <c:v>93.7708333333333</c:v>
                </c:pt>
                <c:pt idx="226">
                  <c:v>97.5008333333333</c:v>
                </c:pt>
                <c:pt idx="227">
                  <c:v>95.9941666666666</c:v>
                </c:pt>
                <c:pt idx="228">
                  <c:v>92.9541666666666</c:v>
                </c:pt>
                <c:pt idx="229">
                  <c:v>93.9225</c:v>
                </c:pt>
                <c:pt idx="230">
                  <c:v>94.0666666666666</c:v>
                </c:pt>
                <c:pt idx="231">
                  <c:v>91.63833333333331</c:v>
                </c:pt>
                <c:pt idx="232">
                  <c:v>92.29333333333329</c:v>
                </c:pt>
                <c:pt idx="233">
                  <c:v>90.27249999999999</c:v>
                </c:pt>
                <c:pt idx="234">
                  <c:v>96.4383333333333</c:v>
                </c:pt>
                <c:pt idx="235">
                  <c:v>93.6675</c:v>
                </c:pt>
                <c:pt idx="236">
                  <c:v>90.6622222222222</c:v>
                </c:pt>
                <c:pt idx="237">
                  <c:v>93.67666666666661</c:v>
                </c:pt>
                <c:pt idx="238">
                  <c:v>89.3971428571428</c:v>
                </c:pt>
                <c:pt idx="239">
                  <c:v>93.32583333333331</c:v>
                </c:pt>
                <c:pt idx="240">
                  <c:v>95.8975</c:v>
                </c:pt>
                <c:pt idx="241">
                  <c:v>91.9563636363636</c:v>
                </c:pt>
                <c:pt idx="242">
                  <c:v>92.4628571428571</c:v>
                </c:pt>
                <c:pt idx="243">
                  <c:v>95.3849999999999</c:v>
                </c:pt>
                <c:pt idx="244">
                  <c:v>90.8475</c:v>
                </c:pt>
                <c:pt idx="245">
                  <c:v>93.6633333333333</c:v>
                </c:pt>
                <c:pt idx="246">
                  <c:v>90.4866666666666</c:v>
                </c:pt>
                <c:pt idx="247">
                  <c:v>97.2063636363636</c:v>
                </c:pt>
                <c:pt idx="248">
                  <c:v>95.41833333333329</c:v>
                </c:pt>
                <c:pt idx="249">
                  <c:v>96.34333333333331</c:v>
                </c:pt>
                <c:pt idx="250">
                  <c:v>91.4966666666666</c:v>
                </c:pt>
                <c:pt idx="251">
                  <c:v>93.4458333333333</c:v>
                </c:pt>
                <c:pt idx="252">
                  <c:v>98.2749999999999</c:v>
                </c:pt>
                <c:pt idx="253">
                  <c:v>94.35599999999999</c:v>
                </c:pt>
                <c:pt idx="254">
                  <c:v>93.0085714285714</c:v>
                </c:pt>
                <c:pt idx="255">
                  <c:v>94.2666666666666</c:v>
                </c:pt>
                <c:pt idx="256">
                  <c:v>94.05833333333329</c:v>
                </c:pt>
                <c:pt idx="257">
                  <c:v>94.7066666666666</c:v>
                </c:pt>
                <c:pt idx="258">
                  <c:v>92.3049999999999</c:v>
                </c:pt>
                <c:pt idx="259">
                  <c:v>91.3066666666666</c:v>
                </c:pt>
                <c:pt idx="260">
                  <c:v>90.8958333333333</c:v>
                </c:pt>
                <c:pt idx="261">
                  <c:v>92.3483333333333</c:v>
                </c:pt>
                <c:pt idx="262">
                  <c:v>95.63</c:v>
                </c:pt>
                <c:pt idx="263">
                  <c:v>93.3981818181818</c:v>
                </c:pt>
                <c:pt idx="264">
                  <c:v>96.20375</c:v>
                </c:pt>
                <c:pt idx="265">
                  <c:v>94.4441666666666</c:v>
                </c:pt>
                <c:pt idx="266">
                  <c:v>92.0175</c:v>
                </c:pt>
                <c:pt idx="267">
                  <c:v>95.2124999999999</c:v>
                </c:pt>
                <c:pt idx="268">
                  <c:v>95.2622222222222</c:v>
                </c:pt>
                <c:pt idx="269">
                  <c:v>92.7383333333333</c:v>
                </c:pt>
                <c:pt idx="270">
                  <c:v>96.78375</c:v>
                </c:pt>
                <c:pt idx="271">
                  <c:v>94.0483333333333</c:v>
                </c:pt>
                <c:pt idx="272">
                  <c:v>91.7272727272727</c:v>
                </c:pt>
                <c:pt idx="273">
                  <c:v>92.79</c:v>
                </c:pt>
                <c:pt idx="274">
                  <c:v>91.99</c:v>
                </c:pt>
                <c:pt idx="275">
                  <c:v>90.05</c:v>
                </c:pt>
                <c:pt idx="276">
                  <c:v>93.4916666666666</c:v>
                </c:pt>
                <c:pt idx="277">
                  <c:v>90.9991666666666</c:v>
                </c:pt>
                <c:pt idx="278">
                  <c:v>93.2666666666666</c:v>
                </c:pt>
                <c:pt idx="279">
                  <c:v>91.9991666666666</c:v>
                </c:pt>
                <c:pt idx="280">
                  <c:v>90.3075</c:v>
                </c:pt>
                <c:pt idx="281">
                  <c:v>91.4241666666666</c:v>
                </c:pt>
                <c:pt idx="282">
                  <c:v>92.9875</c:v>
                </c:pt>
                <c:pt idx="283">
                  <c:v>96.7091666666666</c:v>
                </c:pt>
                <c:pt idx="284">
                  <c:v>94.1525</c:v>
                </c:pt>
                <c:pt idx="285">
                  <c:v>94.87333333333331</c:v>
                </c:pt>
                <c:pt idx="286">
                  <c:v>95.1333333333333</c:v>
                </c:pt>
                <c:pt idx="287">
                  <c:v>93.0208333333333</c:v>
                </c:pt>
                <c:pt idx="288">
                  <c:v>96.2942857142857</c:v>
                </c:pt>
                <c:pt idx="289">
                  <c:v>94.9225</c:v>
                </c:pt>
                <c:pt idx="290">
                  <c:v>92.6425</c:v>
                </c:pt>
                <c:pt idx="291">
                  <c:v>93.2983333333333</c:v>
                </c:pt>
                <c:pt idx="292">
                  <c:v>90.0475</c:v>
                </c:pt>
                <c:pt idx="293">
                  <c:v>93.3483333333333</c:v>
                </c:pt>
                <c:pt idx="294">
                  <c:v>91.8725</c:v>
                </c:pt>
                <c:pt idx="295">
                  <c:v>89.7658333333333</c:v>
                </c:pt>
                <c:pt idx="296">
                  <c:v>93.4583333333333</c:v>
                </c:pt>
                <c:pt idx="297">
                  <c:v>91.8058333333333</c:v>
                </c:pt>
                <c:pt idx="298">
                  <c:v>94.9522222222222</c:v>
                </c:pt>
                <c:pt idx="299">
                  <c:v>95.8941666666666</c:v>
                </c:pt>
                <c:pt idx="300">
                  <c:v>90.925</c:v>
                </c:pt>
                <c:pt idx="301">
                  <c:v>91.3272727272727</c:v>
                </c:pt>
                <c:pt idx="302">
                  <c:v>89.5279999999999</c:v>
                </c:pt>
                <c:pt idx="303">
                  <c:v>95.9924999999999</c:v>
                </c:pt>
                <c:pt idx="304">
                  <c:v>95.7575</c:v>
                </c:pt>
                <c:pt idx="305">
                  <c:v>88.09083333333329</c:v>
                </c:pt>
                <c:pt idx="306">
                  <c:v>91.1188888888888</c:v>
                </c:pt>
                <c:pt idx="307">
                  <c:v>88.7741666666666</c:v>
                </c:pt>
                <c:pt idx="308">
                  <c:v>91.8933333333333</c:v>
                </c:pt>
                <c:pt idx="309">
                  <c:v>91.9525</c:v>
                </c:pt>
                <c:pt idx="310">
                  <c:v>94.505</c:v>
                </c:pt>
                <c:pt idx="311">
                  <c:v>91.5149999999999</c:v>
                </c:pt>
                <c:pt idx="312">
                  <c:v>92.745</c:v>
                </c:pt>
                <c:pt idx="313">
                  <c:v>89.0924999999999</c:v>
                </c:pt>
                <c:pt idx="314">
                  <c:v>98.2424999999999</c:v>
                </c:pt>
                <c:pt idx="315">
                  <c:v>93.0108333333333</c:v>
                </c:pt>
                <c:pt idx="316">
                  <c:v>92.3566666666666</c:v>
                </c:pt>
                <c:pt idx="317">
                  <c:v>93.0783333333333</c:v>
                </c:pt>
                <c:pt idx="318">
                  <c:v>92.9074999999999</c:v>
                </c:pt>
                <c:pt idx="319">
                  <c:v>92.0749999999999</c:v>
                </c:pt>
                <c:pt idx="320">
                  <c:v>90.5741666666666</c:v>
                </c:pt>
                <c:pt idx="321">
                  <c:v>91.5666666666666</c:v>
                </c:pt>
                <c:pt idx="322">
                  <c:v>90.6499999999999</c:v>
                </c:pt>
                <c:pt idx="323">
                  <c:v>93.17999999999989</c:v>
                </c:pt>
                <c:pt idx="324">
                  <c:v>92.729</c:v>
                </c:pt>
                <c:pt idx="325">
                  <c:v>91.3466666666666</c:v>
                </c:pt>
                <c:pt idx="326">
                  <c:v>97.3666666666666</c:v>
                </c:pt>
                <c:pt idx="327">
                  <c:v>90.3758333333333</c:v>
                </c:pt>
                <c:pt idx="328">
                  <c:v>87.475</c:v>
                </c:pt>
                <c:pt idx="329">
                  <c:v>94.5899999999999</c:v>
                </c:pt>
                <c:pt idx="330">
                  <c:v>92.35250000000001</c:v>
                </c:pt>
                <c:pt idx="331">
                  <c:v>93.9191666666666</c:v>
                </c:pt>
                <c:pt idx="332">
                  <c:v>92.7033333333333</c:v>
                </c:pt>
                <c:pt idx="333">
                  <c:v>89.9275</c:v>
                </c:pt>
                <c:pt idx="334">
                  <c:v>92.6549999999999</c:v>
                </c:pt>
                <c:pt idx="335">
                  <c:v>93.8058333333333</c:v>
                </c:pt>
                <c:pt idx="336">
                  <c:v>91.4025</c:v>
                </c:pt>
                <c:pt idx="337">
                  <c:v>92.4966666666666</c:v>
                </c:pt>
                <c:pt idx="338">
                  <c:v>90.9266666666666</c:v>
                </c:pt>
                <c:pt idx="339">
                  <c:v>95.9133333333333</c:v>
                </c:pt>
                <c:pt idx="340">
                  <c:v>92.82250000000001</c:v>
                </c:pt>
                <c:pt idx="341">
                  <c:v>93.8058333333333</c:v>
                </c:pt>
                <c:pt idx="342">
                  <c:v>96.0555555555555</c:v>
                </c:pt>
                <c:pt idx="343">
                  <c:v>91.5766666666666</c:v>
                </c:pt>
                <c:pt idx="344">
                  <c:v>90.30249999999999</c:v>
                </c:pt>
                <c:pt idx="345">
                  <c:v>93.0091666666666</c:v>
                </c:pt>
                <c:pt idx="346">
                  <c:v>95.102</c:v>
                </c:pt>
                <c:pt idx="347">
                  <c:v>93.8316666666666</c:v>
                </c:pt>
                <c:pt idx="348">
                  <c:v>92.270909090909</c:v>
                </c:pt>
                <c:pt idx="349">
                  <c:v>95.8491666666666</c:v>
                </c:pt>
                <c:pt idx="350">
                  <c:v>92.8949999999999</c:v>
                </c:pt>
                <c:pt idx="351">
                  <c:v>97.4591666666666</c:v>
                </c:pt>
                <c:pt idx="352">
                  <c:v>90.8983333333333</c:v>
                </c:pt>
                <c:pt idx="353">
                  <c:v>92.4224999999999</c:v>
                </c:pt>
                <c:pt idx="354">
                  <c:v>96.0475</c:v>
                </c:pt>
                <c:pt idx="355">
                  <c:v>92.85833333333331</c:v>
                </c:pt>
                <c:pt idx="356">
                  <c:v>96.7766666666666</c:v>
                </c:pt>
                <c:pt idx="357">
                  <c:v>93.7825</c:v>
                </c:pt>
                <c:pt idx="358">
                  <c:v>91.8458333333333</c:v>
                </c:pt>
                <c:pt idx="359">
                  <c:v>94.4766666666666</c:v>
                </c:pt>
                <c:pt idx="360">
                  <c:v>95.4299999999999</c:v>
                </c:pt>
                <c:pt idx="361">
                  <c:v>92.9616666666666</c:v>
                </c:pt>
                <c:pt idx="362">
                  <c:v>94.66125</c:v>
                </c:pt>
                <c:pt idx="363">
                  <c:v>91.62916666666661</c:v>
                </c:pt>
                <c:pt idx="364">
                  <c:v>93.8725</c:v>
                </c:pt>
                <c:pt idx="365">
                  <c:v>94.7491666666666</c:v>
                </c:pt>
                <c:pt idx="366">
                  <c:v>94.245</c:v>
                </c:pt>
                <c:pt idx="367">
                  <c:v>90.465</c:v>
                </c:pt>
                <c:pt idx="368">
                  <c:v>94.0516666666666</c:v>
                </c:pt>
                <c:pt idx="369">
                  <c:v>94.5841666666666</c:v>
                </c:pt>
                <c:pt idx="370">
                  <c:v>90.3633333333333</c:v>
                </c:pt>
                <c:pt idx="371">
                  <c:v>94.0141666666666</c:v>
                </c:pt>
                <c:pt idx="372">
                  <c:v>91.4175</c:v>
                </c:pt>
                <c:pt idx="373">
                  <c:v>94.4533333333333</c:v>
                </c:pt>
                <c:pt idx="374">
                  <c:v>94.17083333333331</c:v>
                </c:pt>
                <c:pt idx="375">
                  <c:v>93.12</c:v>
                </c:pt>
                <c:pt idx="376">
                  <c:v>96.3483333333333</c:v>
                </c:pt>
                <c:pt idx="377">
                  <c:v>92.2325</c:v>
                </c:pt>
                <c:pt idx="378">
                  <c:v>95.0158333333333</c:v>
                </c:pt>
                <c:pt idx="379">
                  <c:v>93.6491666666666</c:v>
                </c:pt>
                <c:pt idx="380">
                  <c:v>93.27833333333329</c:v>
                </c:pt>
                <c:pt idx="381">
                  <c:v>92.9558333333333</c:v>
                </c:pt>
                <c:pt idx="382">
                  <c:v>90.9241666666666</c:v>
                </c:pt>
                <c:pt idx="383">
                  <c:v>92.7033333333333</c:v>
                </c:pt>
                <c:pt idx="384">
                  <c:v>93.4016666666666</c:v>
                </c:pt>
                <c:pt idx="385">
                  <c:v>90.6333333333333</c:v>
                </c:pt>
                <c:pt idx="386">
                  <c:v>92.2666666666666</c:v>
                </c:pt>
                <c:pt idx="387">
                  <c:v>91.1158333333333</c:v>
                </c:pt>
                <c:pt idx="388">
                  <c:v>92.4158333333333</c:v>
                </c:pt>
                <c:pt idx="389">
                  <c:v>94.9241666666666</c:v>
                </c:pt>
                <c:pt idx="390">
                  <c:v>86.4416666666666</c:v>
                </c:pt>
                <c:pt idx="391">
                  <c:v>93.5858333333333</c:v>
                </c:pt>
                <c:pt idx="392">
                  <c:v>91.0883333333333</c:v>
                </c:pt>
                <c:pt idx="393">
                  <c:v>89.0258333333333</c:v>
                </c:pt>
                <c:pt idx="394">
                  <c:v>92.5241666666666</c:v>
                </c:pt>
                <c:pt idx="395">
                  <c:v>90.2191666666666</c:v>
                </c:pt>
                <c:pt idx="396">
                  <c:v>93.8841666666666</c:v>
                </c:pt>
                <c:pt idx="397">
                  <c:v>93.74583333333329</c:v>
                </c:pt>
                <c:pt idx="398">
                  <c:v>95.7474999999999</c:v>
                </c:pt>
                <c:pt idx="399">
                  <c:v>90.9741666666666</c:v>
                </c:pt>
                <c:pt idx="400">
                  <c:v>94.1666666666666</c:v>
                </c:pt>
                <c:pt idx="401">
                  <c:v>96.3841666666666</c:v>
                </c:pt>
                <c:pt idx="402">
                  <c:v>94.8158333333333</c:v>
                </c:pt>
                <c:pt idx="403">
                  <c:v>95.5475</c:v>
                </c:pt>
                <c:pt idx="404">
                  <c:v>90.9749999999999</c:v>
                </c:pt>
                <c:pt idx="405">
                  <c:v>92.1441666666666</c:v>
                </c:pt>
                <c:pt idx="406">
                  <c:v>91.5044444444444</c:v>
                </c:pt>
                <c:pt idx="407">
                  <c:v>94.92083333333331</c:v>
                </c:pt>
                <c:pt idx="408">
                  <c:v>95.2141666666666</c:v>
                </c:pt>
                <c:pt idx="409">
                  <c:v>94.0866666666666</c:v>
                </c:pt>
                <c:pt idx="410">
                  <c:v>92.9099999999999</c:v>
                </c:pt>
                <c:pt idx="411">
                  <c:v>92.4741666666666</c:v>
                </c:pt>
                <c:pt idx="412">
                  <c:v>89.7575</c:v>
                </c:pt>
                <c:pt idx="413">
                  <c:v>93.0774999999999</c:v>
                </c:pt>
                <c:pt idx="414">
                  <c:v>90.88833333333331</c:v>
                </c:pt>
                <c:pt idx="415">
                  <c:v>93.18000000000001</c:v>
                </c:pt>
                <c:pt idx="416">
                  <c:v>92.5633333333333</c:v>
                </c:pt>
                <c:pt idx="417">
                  <c:v>94.2608333333333</c:v>
                </c:pt>
                <c:pt idx="418">
                  <c:v>88.2408333333333</c:v>
                </c:pt>
                <c:pt idx="419">
                  <c:v>92.0316666666666</c:v>
                </c:pt>
                <c:pt idx="420">
                  <c:v>92.8675</c:v>
                </c:pt>
                <c:pt idx="421">
                  <c:v>91.5416666666666</c:v>
                </c:pt>
                <c:pt idx="422">
                  <c:v>94.8541666666666</c:v>
                </c:pt>
                <c:pt idx="423">
                  <c:v>90.8875</c:v>
                </c:pt>
                <c:pt idx="424">
                  <c:v>92.57916666666659</c:v>
                </c:pt>
                <c:pt idx="425">
                  <c:v>95.4225</c:v>
                </c:pt>
                <c:pt idx="426">
                  <c:v>94.6408333333333</c:v>
                </c:pt>
                <c:pt idx="427">
                  <c:v>94.0691666666666</c:v>
                </c:pt>
                <c:pt idx="428">
                  <c:v>91.7883333333333</c:v>
                </c:pt>
                <c:pt idx="429">
                  <c:v>88.1075</c:v>
                </c:pt>
                <c:pt idx="430">
                  <c:v>92.0533333333333</c:v>
                </c:pt>
                <c:pt idx="431">
                  <c:v>94.4275</c:v>
                </c:pt>
                <c:pt idx="432">
                  <c:v>94.7858333333333</c:v>
                </c:pt>
                <c:pt idx="433">
                  <c:v>92.865</c:v>
                </c:pt>
                <c:pt idx="434">
                  <c:v>91.60583333333329</c:v>
                </c:pt>
                <c:pt idx="435">
                  <c:v>94.4483333333333</c:v>
                </c:pt>
                <c:pt idx="436">
                  <c:v>89.0949999999999</c:v>
                </c:pt>
                <c:pt idx="437">
                  <c:v>95.37</c:v>
                </c:pt>
                <c:pt idx="438">
                  <c:v>92.7591666666666</c:v>
                </c:pt>
                <c:pt idx="439">
                  <c:v>96.8616666666666</c:v>
                </c:pt>
                <c:pt idx="440">
                  <c:v>92.8933333333333</c:v>
                </c:pt>
                <c:pt idx="441">
                  <c:v>91.62</c:v>
                </c:pt>
                <c:pt idx="442">
                  <c:v>95.9883333333333</c:v>
                </c:pt>
                <c:pt idx="443">
                  <c:v>94.5883333333333</c:v>
                </c:pt>
                <c:pt idx="444">
                  <c:v>94.0316666666666</c:v>
                </c:pt>
                <c:pt idx="445">
                  <c:v>93.4166666666666</c:v>
                </c:pt>
                <c:pt idx="446">
                  <c:v>91.3158333333333</c:v>
                </c:pt>
                <c:pt idx="447">
                  <c:v>93.2275</c:v>
                </c:pt>
                <c:pt idx="448">
                  <c:v>95.255</c:v>
                </c:pt>
                <c:pt idx="449">
                  <c:v>95.5775</c:v>
                </c:pt>
                <c:pt idx="450">
                  <c:v>92.415</c:v>
                </c:pt>
                <c:pt idx="451">
                  <c:v>95.4933333333333</c:v>
                </c:pt>
                <c:pt idx="452">
                  <c:v>94.87916666666661</c:v>
                </c:pt>
                <c:pt idx="453">
                  <c:v>91.33</c:v>
                </c:pt>
                <c:pt idx="454">
                  <c:v>92.035</c:v>
                </c:pt>
                <c:pt idx="455">
                  <c:v>93.3016666666666</c:v>
                </c:pt>
                <c:pt idx="456">
                  <c:v>92.2516666666666</c:v>
                </c:pt>
                <c:pt idx="457">
                  <c:v>93.82916666666659</c:v>
                </c:pt>
                <c:pt idx="458">
                  <c:v>96.95083333333331</c:v>
                </c:pt>
                <c:pt idx="459">
                  <c:v>89.1116666666666</c:v>
                </c:pt>
                <c:pt idx="460">
                  <c:v>93.70083333333331</c:v>
                </c:pt>
                <c:pt idx="461">
                  <c:v>91.8216666666666</c:v>
                </c:pt>
                <c:pt idx="462">
                  <c:v>91.17666666666661</c:v>
                </c:pt>
                <c:pt idx="463">
                  <c:v>93.9674999999999</c:v>
                </c:pt>
                <c:pt idx="464">
                  <c:v>96.0166666666667</c:v>
                </c:pt>
                <c:pt idx="465">
                  <c:v>93.3</c:v>
                </c:pt>
                <c:pt idx="466">
                  <c:v>93.4872727272727</c:v>
                </c:pt>
                <c:pt idx="467">
                  <c:v>92.5341666666666</c:v>
                </c:pt>
                <c:pt idx="468">
                  <c:v>90.46833333333331</c:v>
                </c:pt>
                <c:pt idx="469">
                  <c:v>94.8325</c:v>
                </c:pt>
                <c:pt idx="470">
                  <c:v>95.145</c:v>
                </c:pt>
                <c:pt idx="471">
                  <c:v>93.2675</c:v>
                </c:pt>
                <c:pt idx="472">
                  <c:v>94.01333333333331</c:v>
                </c:pt>
                <c:pt idx="473">
                  <c:v>95.63</c:v>
                </c:pt>
                <c:pt idx="474">
                  <c:v>92.1958333333333</c:v>
                </c:pt>
                <c:pt idx="475">
                  <c:v>91.5166666666666</c:v>
                </c:pt>
                <c:pt idx="476">
                  <c:v>94.71833333333331</c:v>
                </c:pt>
                <c:pt idx="477">
                  <c:v>93.7083333333333</c:v>
                </c:pt>
                <c:pt idx="478">
                  <c:v>88.9275</c:v>
                </c:pt>
                <c:pt idx="479">
                  <c:v>92.02833333333329</c:v>
                </c:pt>
                <c:pt idx="480">
                  <c:v>93.1616666666666</c:v>
                </c:pt>
                <c:pt idx="481">
                  <c:v>94.2766666666666</c:v>
                </c:pt>
                <c:pt idx="482">
                  <c:v>89.2083333333333</c:v>
                </c:pt>
                <c:pt idx="483">
                  <c:v>94.7433333333333</c:v>
                </c:pt>
                <c:pt idx="484">
                  <c:v>89.8758333333333</c:v>
                </c:pt>
                <c:pt idx="485">
                  <c:v>90.9066666666666</c:v>
                </c:pt>
                <c:pt idx="486">
                  <c:v>94.0058333333333</c:v>
                </c:pt>
                <c:pt idx="487">
                  <c:v>92.4141666666666</c:v>
                </c:pt>
                <c:pt idx="488">
                  <c:v>92.8316666666666</c:v>
                </c:pt>
                <c:pt idx="489">
                  <c:v>92.375</c:v>
                </c:pt>
                <c:pt idx="490">
                  <c:v>89.3691666666666</c:v>
                </c:pt>
                <c:pt idx="491">
                  <c:v>93.37083333333329</c:v>
                </c:pt>
                <c:pt idx="492">
                  <c:v>91.3191666666666</c:v>
                </c:pt>
                <c:pt idx="493">
                  <c:v>91.6333333333333</c:v>
                </c:pt>
                <c:pt idx="494">
                  <c:v>93.6541666666666</c:v>
                </c:pt>
                <c:pt idx="495">
                  <c:v>93.0949999999999</c:v>
                </c:pt>
                <c:pt idx="496">
                  <c:v>93.77500000000001</c:v>
                </c:pt>
                <c:pt idx="497">
                  <c:v>88.9525</c:v>
                </c:pt>
                <c:pt idx="498">
                  <c:v>92.9941666666666</c:v>
                </c:pt>
                <c:pt idx="499">
                  <c:v>97.9708333333333</c:v>
                </c:pt>
                <c:pt idx="500">
                  <c:v>92.3633333333333</c:v>
                </c:pt>
                <c:pt idx="501">
                  <c:v>93.6791666666666</c:v>
                </c:pt>
                <c:pt idx="502">
                  <c:v>92.12083333333329</c:v>
                </c:pt>
                <c:pt idx="503">
                  <c:v>95.30249999999999</c:v>
                </c:pt>
                <c:pt idx="504">
                  <c:v>90.0416666666666</c:v>
                </c:pt>
                <c:pt idx="505">
                  <c:v>92.9474999999999</c:v>
                </c:pt>
                <c:pt idx="506">
                  <c:v>94.2275</c:v>
                </c:pt>
                <c:pt idx="507">
                  <c:v>94.2416666666666</c:v>
                </c:pt>
                <c:pt idx="508">
                  <c:v>91.0266666666666</c:v>
                </c:pt>
                <c:pt idx="509">
                  <c:v>92.3283333333333</c:v>
                </c:pt>
                <c:pt idx="510">
                  <c:v>97.0808333333333</c:v>
                </c:pt>
                <c:pt idx="511">
                  <c:v>93.2599999999999</c:v>
                </c:pt>
                <c:pt idx="512">
                  <c:v>92.43583333333331</c:v>
                </c:pt>
                <c:pt idx="513">
                  <c:v>91.9766666666666</c:v>
                </c:pt>
                <c:pt idx="514">
                  <c:v>92.0866666666666</c:v>
                </c:pt>
                <c:pt idx="515">
                  <c:v>92.96833333333331</c:v>
                </c:pt>
                <c:pt idx="516">
                  <c:v>96.5366666666666</c:v>
                </c:pt>
                <c:pt idx="517">
                  <c:v>94.1716666666666</c:v>
                </c:pt>
                <c:pt idx="518">
                  <c:v>94.4575</c:v>
                </c:pt>
                <c:pt idx="519">
                  <c:v>93.3274999999999</c:v>
                </c:pt>
                <c:pt idx="520">
                  <c:v>96.02249999999999</c:v>
                </c:pt>
                <c:pt idx="521">
                  <c:v>94.17749999999999</c:v>
                </c:pt>
                <c:pt idx="522">
                  <c:v>93.3125</c:v>
                </c:pt>
                <c:pt idx="523">
                  <c:v>92.6275</c:v>
                </c:pt>
                <c:pt idx="524">
                  <c:v>93.0241666666666</c:v>
                </c:pt>
                <c:pt idx="525">
                  <c:v>92.0925</c:v>
                </c:pt>
                <c:pt idx="526">
                  <c:v>92.26333333333331</c:v>
                </c:pt>
                <c:pt idx="527">
                  <c:v>93.79333333333329</c:v>
                </c:pt>
                <c:pt idx="528">
                  <c:v>92.3819999999999</c:v>
                </c:pt>
                <c:pt idx="529">
                  <c:v>92.9075</c:v>
                </c:pt>
                <c:pt idx="530">
                  <c:v>93.20625</c:v>
                </c:pt>
                <c:pt idx="531">
                  <c:v>97.0124999999999</c:v>
                </c:pt>
                <c:pt idx="532">
                  <c:v>89.1783333333333</c:v>
                </c:pt>
                <c:pt idx="533">
                  <c:v>90.4191666666666</c:v>
                </c:pt>
                <c:pt idx="534">
                  <c:v>95.5891666666666</c:v>
                </c:pt>
                <c:pt idx="535">
                  <c:v>97.7966666666666</c:v>
                </c:pt>
                <c:pt idx="536">
                  <c:v>93.2116666666666</c:v>
                </c:pt>
                <c:pt idx="537">
                  <c:v>92.63</c:v>
                </c:pt>
                <c:pt idx="538">
                  <c:v>93.12666666666659</c:v>
                </c:pt>
                <c:pt idx="539">
                  <c:v>94.18249999999991</c:v>
                </c:pt>
                <c:pt idx="540">
                  <c:v>92.8166666666666</c:v>
                </c:pt>
                <c:pt idx="541">
                  <c:v>89.6491666666666</c:v>
                </c:pt>
                <c:pt idx="542">
                  <c:v>89.695</c:v>
                </c:pt>
                <c:pt idx="543">
                  <c:v>90.16500000000001</c:v>
                </c:pt>
                <c:pt idx="544">
                  <c:v>92.225</c:v>
                </c:pt>
                <c:pt idx="545">
                  <c:v>91.505</c:v>
                </c:pt>
                <c:pt idx="546">
                  <c:v>95.18583333333331</c:v>
                </c:pt>
                <c:pt idx="547">
                  <c:v>92.6341666666666</c:v>
                </c:pt>
                <c:pt idx="548">
                  <c:v>91.8541666666666</c:v>
                </c:pt>
                <c:pt idx="549">
                  <c:v>88.7341666666666</c:v>
                </c:pt>
                <c:pt idx="550">
                  <c:v>97.85428571428569</c:v>
                </c:pt>
                <c:pt idx="551">
                  <c:v>90.2666666666666</c:v>
                </c:pt>
                <c:pt idx="552">
                  <c:v>93.3166666666666</c:v>
                </c:pt>
                <c:pt idx="553">
                  <c:v>91.0591666666666</c:v>
                </c:pt>
                <c:pt idx="554">
                  <c:v>96.3808333333333</c:v>
                </c:pt>
                <c:pt idx="555">
                  <c:v>94.4458333333333</c:v>
                </c:pt>
                <c:pt idx="556">
                  <c:v>89.9916666666666</c:v>
                </c:pt>
                <c:pt idx="557">
                  <c:v>93.04333333333329</c:v>
                </c:pt>
                <c:pt idx="558">
                  <c:v>92.8</c:v>
                </c:pt>
                <c:pt idx="559">
                  <c:v>92.62</c:v>
                </c:pt>
                <c:pt idx="560">
                  <c:v>89.62666666666659</c:v>
                </c:pt>
                <c:pt idx="561">
                  <c:v>96.4433333333333</c:v>
                </c:pt>
                <c:pt idx="562">
                  <c:v>95.7825</c:v>
                </c:pt>
                <c:pt idx="563">
                  <c:v>91.2425</c:v>
                </c:pt>
                <c:pt idx="564">
                  <c:v>94.8249999999999</c:v>
                </c:pt>
                <c:pt idx="565">
                  <c:v>97.9024999999999</c:v>
                </c:pt>
                <c:pt idx="566">
                  <c:v>88.7833333333333</c:v>
                </c:pt>
                <c:pt idx="567">
                  <c:v>93.2799999999999</c:v>
                </c:pt>
                <c:pt idx="568">
                  <c:v>89.87666666666659</c:v>
                </c:pt>
                <c:pt idx="569">
                  <c:v>93.4483333333333</c:v>
                </c:pt>
                <c:pt idx="570">
                  <c:v>89.7108333333333</c:v>
                </c:pt>
                <c:pt idx="571">
                  <c:v>93.5483333333333</c:v>
                </c:pt>
                <c:pt idx="572">
                  <c:v>97.10250000000001</c:v>
                </c:pt>
                <c:pt idx="573">
                  <c:v>93.54</c:v>
                </c:pt>
                <c:pt idx="574">
                  <c:v>96.0174999999999</c:v>
                </c:pt>
                <c:pt idx="575">
                  <c:v>95.88</c:v>
                </c:pt>
                <c:pt idx="576">
                  <c:v>97.2791666666666</c:v>
                </c:pt>
                <c:pt idx="577">
                  <c:v>92.1866666666666</c:v>
                </c:pt>
                <c:pt idx="578">
                  <c:v>92.5733333333333</c:v>
                </c:pt>
                <c:pt idx="579">
                  <c:v>92.2924999999999</c:v>
                </c:pt>
                <c:pt idx="580">
                  <c:v>89.8566666666666</c:v>
                </c:pt>
                <c:pt idx="581">
                  <c:v>95.3958333333333</c:v>
                </c:pt>
                <c:pt idx="582">
                  <c:v>90.5158333333333</c:v>
                </c:pt>
                <c:pt idx="583">
                  <c:v>91.7266666666666</c:v>
                </c:pt>
                <c:pt idx="584">
                  <c:v>93.3374999999999</c:v>
                </c:pt>
                <c:pt idx="585">
                  <c:v>94.0408333333333</c:v>
                </c:pt>
                <c:pt idx="586">
                  <c:v>91.49583333333329</c:v>
                </c:pt>
                <c:pt idx="587">
                  <c:v>91.9258333333333</c:v>
                </c:pt>
                <c:pt idx="588">
                  <c:v>95.8208333333333</c:v>
                </c:pt>
                <c:pt idx="589">
                  <c:v>96.0741666666666</c:v>
                </c:pt>
                <c:pt idx="590">
                  <c:v>89.605</c:v>
                </c:pt>
                <c:pt idx="591">
                  <c:v>94.2025</c:v>
                </c:pt>
                <c:pt idx="592">
                  <c:v>94.43</c:v>
                </c:pt>
                <c:pt idx="593">
                  <c:v>92.0566666666666</c:v>
                </c:pt>
                <c:pt idx="594">
                  <c:v>93.2258333333333</c:v>
                </c:pt>
                <c:pt idx="595">
                  <c:v>89.435</c:v>
                </c:pt>
                <c:pt idx="596">
                  <c:v>89.13249999999999</c:v>
                </c:pt>
                <c:pt idx="597">
                  <c:v>92.0774999999999</c:v>
                </c:pt>
                <c:pt idx="598">
                  <c:v>89.79583333333331</c:v>
                </c:pt>
                <c:pt idx="599">
                  <c:v>91.335</c:v>
                </c:pt>
                <c:pt idx="600">
                  <c:v>91.1491666666666</c:v>
                </c:pt>
                <c:pt idx="601">
                  <c:v>91.0808333333333</c:v>
                </c:pt>
                <c:pt idx="602">
                  <c:v>93.5091666666666</c:v>
                </c:pt>
                <c:pt idx="603">
                  <c:v>92.4108333333333</c:v>
                </c:pt>
                <c:pt idx="604">
                  <c:v>91.29333333333329</c:v>
                </c:pt>
                <c:pt idx="605">
                  <c:v>90.8941666666666</c:v>
                </c:pt>
                <c:pt idx="606">
                  <c:v>92.7774999999999</c:v>
                </c:pt>
                <c:pt idx="607">
                  <c:v>94.9325</c:v>
                </c:pt>
                <c:pt idx="608">
                  <c:v>92.4341666666666</c:v>
                </c:pt>
                <c:pt idx="609">
                  <c:v>93.0466666666666</c:v>
                </c:pt>
                <c:pt idx="610">
                  <c:v>93.4225</c:v>
                </c:pt>
                <c:pt idx="611">
                  <c:v>97.3491666666666</c:v>
                </c:pt>
                <c:pt idx="612">
                  <c:v>96.46545454545451</c:v>
                </c:pt>
                <c:pt idx="613">
                  <c:v>92.75</c:v>
                </c:pt>
                <c:pt idx="614">
                  <c:v>92.2733333333333</c:v>
                </c:pt>
                <c:pt idx="615">
                  <c:v>88.79333333333329</c:v>
                </c:pt>
                <c:pt idx="616">
                  <c:v>87.6316666666666</c:v>
                </c:pt>
                <c:pt idx="617">
                  <c:v>90.6841666666666</c:v>
                </c:pt>
                <c:pt idx="618">
                  <c:v>90.2149999999999</c:v>
                </c:pt>
                <c:pt idx="619">
                  <c:v>93.0183333333333</c:v>
                </c:pt>
                <c:pt idx="620">
                  <c:v>94.705</c:v>
                </c:pt>
                <c:pt idx="621">
                  <c:v>94.6641666666666</c:v>
                </c:pt>
                <c:pt idx="622">
                  <c:v>92.75</c:v>
                </c:pt>
                <c:pt idx="623">
                  <c:v>91.3899999999999</c:v>
                </c:pt>
                <c:pt idx="624">
                  <c:v>93.83</c:v>
                </c:pt>
                <c:pt idx="625">
                  <c:v>92.7083333333333</c:v>
                </c:pt>
                <c:pt idx="626">
                  <c:v>91.6008333333333</c:v>
                </c:pt>
                <c:pt idx="627">
                  <c:v>89.9425</c:v>
                </c:pt>
                <c:pt idx="628">
                  <c:v>96.8275</c:v>
                </c:pt>
                <c:pt idx="629">
                  <c:v>95.6466666666666</c:v>
                </c:pt>
                <c:pt idx="630">
                  <c:v>91.2366666666666</c:v>
                </c:pt>
                <c:pt idx="631">
                  <c:v>91.3058333333333</c:v>
                </c:pt>
                <c:pt idx="632">
                  <c:v>90.5966666666666</c:v>
                </c:pt>
                <c:pt idx="633">
                  <c:v>95.46</c:v>
                </c:pt>
                <c:pt idx="634">
                  <c:v>95.66249999999989</c:v>
                </c:pt>
                <c:pt idx="635">
                  <c:v>97.9458333333333</c:v>
                </c:pt>
                <c:pt idx="636">
                  <c:v>92.9975</c:v>
                </c:pt>
                <c:pt idx="637">
                  <c:v>95.6191666666666</c:v>
                </c:pt>
                <c:pt idx="638">
                  <c:v>94.3691666666666</c:v>
                </c:pt>
                <c:pt idx="639">
                  <c:v>88.0183333333333</c:v>
                </c:pt>
                <c:pt idx="640">
                  <c:v>90.9316666666666</c:v>
                </c:pt>
                <c:pt idx="641">
                  <c:v>94.17083333333331</c:v>
                </c:pt>
                <c:pt idx="642">
                  <c:v>96.8141666666666</c:v>
                </c:pt>
                <c:pt idx="643">
                  <c:v>92.745</c:v>
                </c:pt>
                <c:pt idx="644">
                  <c:v>89.8866666666666</c:v>
                </c:pt>
                <c:pt idx="645">
                  <c:v>91.8945454545454</c:v>
                </c:pt>
                <c:pt idx="646">
                  <c:v>90.0557142857142</c:v>
                </c:pt>
                <c:pt idx="647">
                  <c:v>92.5258333333333</c:v>
                </c:pt>
                <c:pt idx="648">
                  <c:v>93.71875</c:v>
                </c:pt>
                <c:pt idx="649">
                  <c:v>94.43583333333331</c:v>
                </c:pt>
                <c:pt idx="650">
                  <c:v>95.4191666666666</c:v>
                </c:pt>
                <c:pt idx="651">
                  <c:v>94.8399999999999</c:v>
                </c:pt>
                <c:pt idx="652">
                  <c:v>90.7216666666666</c:v>
                </c:pt>
                <c:pt idx="653">
                  <c:v>97.6366666666666</c:v>
                </c:pt>
                <c:pt idx="654">
                  <c:v>90.5483333333333</c:v>
                </c:pt>
                <c:pt idx="655">
                  <c:v>91.2508333333333</c:v>
                </c:pt>
                <c:pt idx="656">
                  <c:v>92.0991666666666</c:v>
                </c:pt>
                <c:pt idx="657">
                  <c:v>92.0972727272727</c:v>
                </c:pt>
                <c:pt idx="658">
                  <c:v>97.9528571428571</c:v>
                </c:pt>
                <c:pt idx="659">
                  <c:v>92.2066666666666</c:v>
                </c:pt>
                <c:pt idx="660">
                  <c:v>96.4433333333333</c:v>
                </c:pt>
                <c:pt idx="661">
                  <c:v>94.2766666666666</c:v>
                </c:pt>
                <c:pt idx="662">
                  <c:v>90.67666666666661</c:v>
                </c:pt>
                <c:pt idx="663">
                  <c:v>92.7891666666666</c:v>
                </c:pt>
                <c:pt idx="664">
                  <c:v>87.26333333333331</c:v>
                </c:pt>
                <c:pt idx="665">
                  <c:v>91.4716666666666</c:v>
                </c:pt>
                <c:pt idx="666">
                  <c:v>96.0641666666666</c:v>
                </c:pt>
                <c:pt idx="667">
                  <c:v>95.4941666666666</c:v>
                </c:pt>
                <c:pt idx="668">
                  <c:v>94.4316666666666</c:v>
                </c:pt>
                <c:pt idx="669">
                  <c:v>92.8424999999999</c:v>
                </c:pt>
                <c:pt idx="670">
                  <c:v>97.06083333333331</c:v>
                </c:pt>
                <c:pt idx="671">
                  <c:v>92.7966666666666</c:v>
                </c:pt>
                <c:pt idx="672">
                  <c:v>92.505</c:v>
                </c:pt>
                <c:pt idx="673">
                  <c:v>92.4841666666666</c:v>
                </c:pt>
                <c:pt idx="674">
                  <c:v>91.757</c:v>
                </c:pt>
                <c:pt idx="675">
                  <c:v>93.0808333333333</c:v>
                </c:pt>
                <c:pt idx="676">
                  <c:v>92.68000000000001</c:v>
                </c:pt>
                <c:pt idx="677">
                  <c:v>91.6341666666666</c:v>
                </c:pt>
                <c:pt idx="678">
                  <c:v>95.1116666666666</c:v>
                </c:pt>
                <c:pt idx="679">
                  <c:v>93.985</c:v>
                </c:pt>
                <c:pt idx="680">
                  <c:v>94.455</c:v>
                </c:pt>
                <c:pt idx="681">
                  <c:v>92.7975</c:v>
                </c:pt>
                <c:pt idx="682">
                  <c:v>93.0241666666666</c:v>
                </c:pt>
                <c:pt idx="683">
                  <c:v>92.905</c:v>
                </c:pt>
                <c:pt idx="684">
                  <c:v>92.0183333333333</c:v>
                </c:pt>
                <c:pt idx="685">
                  <c:v>94.9125</c:v>
                </c:pt>
                <c:pt idx="686">
                  <c:v>93.8591666666666</c:v>
                </c:pt>
                <c:pt idx="687">
                  <c:v>91.6866666666666</c:v>
                </c:pt>
                <c:pt idx="688">
                  <c:v>93.88583333333329</c:v>
                </c:pt>
                <c:pt idx="689">
                  <c:v>93.3266666666666</c:v>
                </c:pt>
                <c:pt idx="690">
                  <c:v>94.9375</c:v>
                </c:pt>
                <c:pt idx="691">
                  <c:v>94.24583333333329</c:v>
                </c:pt>
                <c:pt idx="692">
                  <c:v>89.9783333333333</c:v>
                </c:pt>
                <c:pt idx="693">
                  <c:v>93.0316666666666</c:v>
                </c:pt>
                <c:pt idx="694">
                  <c:v>92.2708333333333</c:v>
                </c:pt>
                <c:pt idx="695">
                  <c:v>93.9758333333333</c:v>
                </c:pt>
                <c:pt idx="696">
                  <c:v>91.39</c:v>
                </c:pt>
                <c:pt idx="697">
                  <c:v>89.6966666666666</c:v>
                </c:pt>
                <c:pt idx="698">
                  <c:v>94.9491666666666</c:v>
                </c:pt>
                <c:pt idx="699">
                  <c:v>93.5383333333333</c:v>
                </c:pt>
                <c:pt idx="700">
                  <c:v>93.5866666666666</c:v>
                </c:pt>
                <c:pt idx="701">
                  <c:v>91.4533333333333</c:v>
                </c:pt>
                <c:pt idx="702">
                  <c:v>92.62</c:v>
                </c:pt>
                <c:pt idx="703">
                  <c:v>95.2983333333333</c:v>
                </c:pt>
                <c:pt idx="704">
                  <c:v>92.4125</c:v>
                </c:pt>
                <c:pt idx="705">
                  <c:v>90.3666666666666</c:v>
                </c:pt>
                <c:pt idx="706">
                  <c:v>92.2508333333333</c:v>
                </c:pt>
                <c:pt idx="707">
                  <c:v>91.97</c:v>
                </c:pt>
                <c:pt idx="708">
                  <c:v>93.7575</c:v>
                </c:pt>
                <c:pt idx="709">
                  <c:v>95.6458333333333</c:v>
                </c:pt>
                <c:pt idx="710">
                  <c:v>92.8783333333333</c:v>
                </c:pt>
                <c:pt idx="711">
                  <c:v>92.85583333333329</c:v>
                </c:pt>
                <c:pt idx="712">
                  <c:v>93.115</c:v>
                </c:pt>
                <c:pt idx="713">
                  <c:v>92.2124999999999</c:v>
                </c:pt>
                <c:pt idx="714">
                  <c:v>93.2191666666666</c:v>
                </c:pt>
                <c:pt idx="715">
                  <c:v>93.7874999999999</c:v>
                </c:pt>
                <c:pt idx="716">
                  <c:v>94.3299999999999</c:v>
                </c:pt>
                <c:pt idx="717">
                  <c:v>95.2241666666666</c:v>
                </c:pt>
                <c:pt idx="718">
                  <c:v>92.9408333333333</c:v>
                </c:pt>
                <c:pt idx="719">
                  <c:v>90.1316666666666</c:v>
                </c:pt>
                <c:pt idx="720">
                  <c:v>90.2141666666666</c:v>
                </c:pt>
                <c:pt idx="721">
                  <c:v>91.85833333333331</c:v>
                </c:pt>
                <c:pt idx="722">
                  <c:v>96.48</c:v>
                </c:pt>
                <c:pt idx="723">
                  <c:v>96.3158333333333</c:v>
                </c:pt>
                <c:pt idx="724">
                  <c:v>95.2591666666666</c:v>
                </c:pt>
                <c:pt idx="725">
                  <c:v>95.25</c:v>
                </c:pt>
                <c:pt idx="726">
                  <c:v>94.1225</c:v>
                </c:pt>
                <c:pt idx="727">
                  <c:v>92.79</c:v>
                </c:pt>
                <c:pt idx="728">
                  <c:v>90.6883333333333</c:v>
                </c:pt>
                <c:pt idx="729">
                  <c:v>96.1525</c:v>
                </c:pt>
              </c:numCache>
            </c:numRef>
          </c:xVal>
          <c:yVal>
            <c:numRef>
              <c:f>'Water Trading Repository Table'!$B$733:$B$1462</c:f>
              <c:numCache>
                <c:formatCode>0.00</c:formatCode>
                <c:ptCount val="730"/>
                <c:pt idx="0">
                  <c:v>2814.71056061249</c:v>
                </c:pt>
                <c:pt idx="1">
                  <c:v>2820.15931286666</c:v>
                </c:pt>
                <c:pt idx="2">
                  <c:v>2147.35322332916</c:v>
                </c:pt>
                <c:pt idx="3">
                  <c:v>2545.31080693749</c:v>
                </c:pt>
                <c:pt idx="4">
                  <c:v>2222.41361932083</c:v>
                </c:pt>
                <c:pt idx="5">
                  <c:v>2257.31580077083</c:v>
                </c:pt>
                <c:pt idx="6">
                  <c:v>2032.198344465</c:v>
                </c:pt>
                <c:pt idx="7">
                  <c:v>2117.81630373749</c:v>
                </c:pt>
                <c:pt idx="8">
                  <c:v>1881.95001756666</c:v>
                </c:pt>
                <c:pt idx="9">
                  <c:v>2576.3438875909</c:v>
                </c:pt>
                <c:pt idx="10">
                  <c:v>2044.66478628499</c:v>
                </c:pt>
                <c:pt idx="11">
                  <c:v>2868.95631827083</c:v>
                </c:pt>
                <c:pt idx="12">
                  <c:v>2472.63340119583</c:v>
                </c:pt>
                <c:pt idx="13">
                  <c:v>3299.93935807082</c:v>
                </c:pt>
                <c:pt idx="14">
                  <c:v>2786.54759980833</c:v>
                </c:pt>
                <c:pt idx="15">
                  <c:v>3225.75177465416</c:v>
                </c:pt>
                <c:pt idx="16">
                  <c:v>2425.13607565416</c:v>
                </c:pt>
                <c:pt idx="17">
                  <c:v>2401.80581213333</c:v>
                </c:pt>
                <c:pt idx="18">
                  <c:v>2113.51254007999</c:v>
                </c:pt>
                <c:pt idx="19">
                  <c:v>2433.34801681666</c:v>
                </c:pt>
                <c:pt idx="20">
                  <c:v>2189.04389973124</c:v>
                </c:pt>
                <c:pt idx="21">
                  <c:v>2483.56573400833</c:v>
                </c:pt>
                <c:pt idx="22">
                  <c:v>1896.02434736666</c:v>
                </c:pt>
                <c:pt idx="23">
                  <c:v>2615.87353828749</c:v>
                </c:pt>
                <c:pt idx="24">
                  <c:v>1992.70477325416</c:v>
                </c:pt>
                <c:pt idx="25">
                  <c:v>2387.78804649166</c:v>
                </c:pt>
                <c:pt idx="26">
                  <c:v>2358.34048073333</c:v>
                </c:pt>
                <c:pt idx="27">
                  <c:v>3340.70503213333</c:v>
                </c:pt>
                <c:pt idx="28">
                  <c:v>2842.30930603749</c:v>
                </c:pt>
                <c:pt idx="29">
                  <c:v>3250.48740351666</c:v>
                </c:pt>
                <c:pt idx="30">
                  <c:v>2453.19611417083</c:v>
                </c:pt>
                <c:pt idx="31">
                  <c:v>2536.47507369166</c:v>
                </c:pt>
                <c:pt idx="32">
                  <c:v>1958.74035935833</c:v>
                </c:pt>
                <c:pt idx="33">
                  <c:v>2217.73773232083</c:v>
                </c:pt>
                <c:pt idx="34">
                  <c:v>2035.5217133875</c:v>
                </c:pt>
                <c:pt idx="35">
                  <c:v>2450.34808518749</c:v>
                </c:pt>
                <c:pt idx="36">
                  <c:v>1864.60226387142</c:v>
                </c:pt>
                <c:pt idx="37">
                  <c:v>2278.12954959166</c:v>
                </c:pt>
                <c:pt idx="38">
                  <c:v>1924.96055511666</c:v>
                </c:pt>
                <c:pt idx="39">
                  <c:v>2560.87504462499</c:v>
                </c:pt>
                <c:pt idx="40">
                  <c:v>2127.80860193749</c:v>
                </c:pt>
                <c:pt idx="41">
                  <c:v>2746.12960724166</c:v>
                </c:pt>
                <c:pt idx="42">
                  <c:v>2140.08643421666</c:v>
                </c:pt>
                <c:pt idx="43">
                  <c:v>2651.12790911666</c:v>
                </c:pt>
                <c:pt idx="44">
                  <c:v>2198.89090385833</c:v>
                </c:pt>
                <c:pt idx="45">
                  <c:v>2598.18044052499</c:v>
                </c:pt>
                <c:pt idx="46">
                  <c:v>2166.82057000909</c:v>
                </c:pt>
                <c:pt idx="47">
                  <c:v>2420.47367987499</c:v>
                </c:pt>
                <c:pt idx="48">
                  <c:v>2104.84238782916</c:v>
                </c:pt>
                <c:pt idx="49">
                  <c:v>2301.04937818333</c:v>
                </c:pt>
                <c:pt idx="50">
                  <c:v>2010.89693983749</c:v>
                </c:pt>
                <c:pt idx="51">
                  <c:v>2440.12868815833</c:v>
                </c:pt>
                <c:pt idx="52">
                  <c:v>1872.78887220833</c:v>
                </c:pt>
                <c:pt idx="53">
                  <c:v>2702.88436777499</c:v>
                </c:pt>
                <c:pt idx="54">
                  <c:v>1862.09098722916</c:v>
                </c:pt>
                <c:pt idx="55">
                  <c:v>2301.83071518749</c:v>
                </c:pt>
                <c:pt idx="56">
                  <c:v>2141.21007044999</c:v>
                </c:pt>
                <c:pt idx="57">
                  <c:v>2542.9754542625</c:v>
                </c:pt>
                <c:pt idx="58">
                  <c:v>2141.67581525416</c:v>
                </c:pt>
                <c:pt idx="59">
                  <c:v>2821.58528162499</c:v>
                </c:pt>
                <c:pt idx="60">
                  <c:v>2121.26779792499</c:v>
                </c:pt>
                <c:pt idx="61">
                  <c:v>2725.263198175</c:v>
                </c:pt>
                <c:pt idx="62">
                  <c:v>2168.78318259166</c:v>
                </c:pt>
                <c:pt idx="63">
                  <c:v>2961.58987294583</c:v>
                </c:pt>
                <c:pt idx="64">
                  <c:v>2059.64344003749</c:v>
                </c:pt>
                <c:pt idx="65">
                  <c:v>2915.94190402499</c:v>
                </c:pt>
                <c:pt idx="66">
                  <c:v>2074.95073742916</c:v>
                </c:pt>
                <c:pt idx="67">
                  <c:v>2840.13885584583</c:v>
                </c:pt>
                <c:pt idx="68">
                  <c:v>2336.18643418333</c:v>
                </c:pt>
                <c:pt idx="69">
                  <c:v>2795.98233786666</c:v>
                </c:pt>
                <c:pt idx="70">
                  <c:v>2203.74438463749</c:v>
                </c:pt>
                <c:pt idx="71">
                  <c:v>2514.44008511249</c:v>
                </c:pt>
                <c:pt idx="72">
                  <c:v>2254.8362323375</c:v>
                </c:pt>
                <c:pt idx="73">
                  <c:v>2369.59483633749</c:v>
                </c:pt>
                <c:pt idx="74">
                  <c:v>1974.18200617916</c:v>
                </c:pt>
                <c:pt idx="75">
                  <c:v>2271.77918661666</c:v>
                </c:pt>
                <c:pt idx="76">
                  <c:v>2014.21608298333</c:v>
                </c:pt>
                <c:pt idx="77">
                  <c:v>2596.57019364583</c:v>
                </c:pt>
                <c:pt idx="78">
                  <c:v>1867.48156763636</c:v>
                </c:pt>
                <c:pt idx="79">
                  <c:v>2828.97753461666</c:v>
                </c:pt>
                <c:pt idx="80">
                  <c:v>1994.44383664999</c:v>
                </c:pt>
                <c:pt idx="81">
                  <c:v>2926.170895525</c:v>
                </c:pt>
                <c:pt idx="82">
                  <c:v>2554.61786272916</c:v>
                </c:pt>
                <c:pt idx="83">
                  <c:v>3236.48692375416</c:v>
                </c:pt>
                <c:pt idx="84">
                  <c:v>2762.51570894166</c:v>
                </c:pt>
                <c:pt idx="85">
                  <c:v>3531.53172879999</c:v>
                </c:pt>
                <c:pt idx="86">
                  <c:v>2745.1802333625</c:v>
                </c:pt>
                <c:pt idx="87">
                  <c:v>3355.45093190833</c:v>
                </c:pt>
                <c:pt idx="88">
                  <c:v>2603.79767195833</c:v>
                </c:pt>
                <c:pt idx="89">
                  <c:v>2861.99604596249</c:v>
                </c:pt>
                <c:pt idx="90">
                  <c:v>2363.62176253333</c:v>
                </c:pt>
                <c:pt idx="91">
                  <c:v>2935.94801116249</c:v>
                </c:pt>
                <c:pt idx="92">
                  <c:v>2179.31915654583</c:v>
                </c:pt>
                <c:pt idx="93">
                  <c:v>2726.05105495833</c:v>
                </c:pt>
                <c:pt idx="94">
                  <c:v>1942.26215114166</c:v>
                </c:pt>
                <c:pt idx="95">
                  <c:v>2233.64032900416</c:v>
                </c:pt>
                <c:pt idx="96">
                  <c:v>2017.22579053999</c:v>
                </c:pt>
                <c:pt idx="97">
                  <c:v>2359.11992098749</c:v>
                </c:pt>
                <c:pt idx="98">
                  <c:v>2334.552627825</c:v>
                </c:pt>
                <c:pt idx="99">
                  <c:v>2805.62813153333</c:v>
                </c:pt>
                <c:pt idx="100">
                  <c:v>2303.46946227499</c:v>
                </c:pt>
                <c:pt idx="101">
                  <c:v>3590.68286271666</c:v>
                </c:pt>
                <c:pt idx="102">
                  <c:v>2704.16494664583</c:v>
                </c:pt>
                <c:pt idx="103">
                  <c:v>3365.87835465833</c:v>
                </c:pt>
                <c:pt idx="104">
                  <c:v>2625.098670575</c:v>
                </c:pt>
                <c:pt idx="105">
                  <c:v>2556.60953337916</c:v>
                </c:pt>
                <c:pt idx="106">
                  <c:v>1823.06963277499</c:v>
                </c:pt>
                <c:pt idx="107">
                  <c:v>2037.72301650416</c:v>
                </c:pt>
                <c:pt idx="108">
                  <c:v>1722.88964645416</c:v>
                </c:pt>
                <c:pt idx="109">
                  <c:v>2063.51221467083</c:v>
                </c:pt>
                <c:pt idx="110">
                  <c:v>2069.90342163749</c:v>
                </c:pt>
                <c:pt idx="111">
                  <c:v>2923.37536639583</c:v>
                </c:pt>
                <c:pt idx="112">
                  <c:v>2277.06112171666</c:v>
                </c:pt>
                <c:pt idx="113">
                  <c:v>3388.07088610416</c:v>
                </c:pt>
                <c:pt idx="114">
                  <c:v>2553.06626393333</c:v>
                </c:pt>
                <c:pt idx="115">
                  <c:v>3123.83531760833</c:v>
                </c:pt>
                <c:pt idx="116">
                  <c:v>2302.39365102916</c:v>
                </c:pt>
                <c:pt idx="117">
                  <c:v>2913.65439857083</c:v>
                </c:pt>
                <c:pt idx="118">
                  <c:v>2279.91755246666</c:v>
                </c:pt>
                <c:pt idx="119">
                  <c:v>2813.42379732083</c:v>
                </c:pt>
                <c:pt idx="120">
                  <c:v>1968.99549426666</c:v>
                </c:pt>
                <c:pt idx="121">
                  <c:v>2389.08068954583</c:v>
                </c:pt>
                <c:pt idx="122">
                  <c:v>1789.86981436666</c:v>
                </c:pt>
                <c:pt idx="123">
                  <c:v>2359.71809166666</c:v>
                </c:pt>
                <c:pt idx="124">
                  <c:v>2029.43887392916</c:v>
                </c:pt>
                <c:pt idx="125">
                  <c:v>2184.91036500416</c:v>
                </c:pt>
                <c:pt idx="126">
                  <c:v>2196.38929249999</c:v>
                </c:pt>
                <c:pt idx="127">
                  <c:v>2432.6821969625</c:v>
                </c:pt>
                <c:pt idx="128">
                  <c:v>2011.3950495611</c:v>
                </c:pt>
                <c:pt idx="129">
                  <c:v>2633.60152889999</c:v>
                </c:pt>
                <c:pt idx="130">
                  <c:v>2200.42334230999</c:v>
                </c:pt>
                <c:pt idx="131">
                  <c:v>2618.30276229166</c:v>
                </c:pt>
                <c:pt idx="132">
                  <c:v>2180.19969812777</c:v>
                </c:pt>
                <c:pt idx="133">
                  <c:v>2672.35888205833</c:v>
                </c:pt>
                <c:pt idx="134">
                  <c:v>2004.50642997272</c:v>
                </c:pt>
                <c:pt idx="135">
                  <c:v>2614.99270772499</c:v>
                </c:pt>
                <c:pt idx="136">
                  <c:v>2097.69024651666</c:v>
                </c:pt>
                <c:pt idx="137">
                  <c:v>2409.26478085</c:v>
                </c:pt>
                <c:pt idx="138">
                  <c:v>2208.217814475</c:v>
                </c:pt>
                <c:pt idx="139">
                  <c:v>2481.62320262916</c:v>
                </c:pt>
                <c:pt idx="140">
                  <c:v>1865.75145596249</c:v>
                </c:pt>
                <c:pt idx="141">
                  <c:v>2161.97609665416</c:v>
                </c:pt>
                <c:pt idx="142">
                  <c:v>2059.15771088636</c:v>
                </c:pt>
                <c:pt idx="143">
                  <c:v>2244.5299330875</c:v>
                </c:pt>
                <c:pt idx="144">
                  <c:v>2290.24188112499</c:v>
                </c:pt>
                <c:pt idx="145">
                  <c:v>2529.39868423636</c:v>
                </c:pt>
                <c:pt idx="146">
                  <c:v>2028.51025856499</c:v>
                </c:pt>
                <c:pt idx="147">
                  <c:v>2377.94035089583</c:v>
                </c:pt>
                <c:pt idx="148">
                  <c:v>1952.47576309285</c:v>
                </c:pt>
                <c:pt idx="149">
                  <c:v>2220.32956598333</c:v>
                </c:pt>
                <c:pt idx="150">
                  <c:v>1874.495276325</c:v>
                </c:pt>
                <c:pt idx="151">
                  <c:v>2408.17169789583</c:v>
                </c:pt>
                <c:pt idx="152">
                  <c:v>2348.21878462916</c:v>
                </c:pt>
                <c:pt idx="153">
                  <c:v>2781.20463690833</c:v>
                </c:pt>
                <c:pt idx="154">
                  <c:v>2134.74722752916</c:v>
                </c:pt>
                <c:pt idx="155">
                  <c:v>2486.23440251249</c:v>
                </c:pt>
                <c:pt idx="156">
                  <c:v>2081.84658582083</c:v>
                </c:pt>
                <c:pt idx="157">
                  <c:v>2492.72925173333</c:v>
                </c:pt>
                <c:pt idx="158">
                  <c:v>2041.29118140454</c:v>
                </c:pt>
                <c:pt idx="159">
                  <c:v>2261.45394519583</c:v>
                </c:pt>
                <c:pt idx="160">
                  <c:v>2236.38152621666</c:v>
                </c:pt>
                <c:pt idx="161">
                  <c:v>2294.40263804583</c:v>
                </c:pt>
                <c:pt idx="162">
                  <c:v>1918.97782055624</c:v>
                </c:pt>
                <c:pt idx="163">
                  <c:v>2049.31759405499</c:v>
                </c:pt>
                <c:pt idx="164">
                  <c:v>1942.20351675</c:v>
                </c:pt>
                <c:pt idx="165">
                  <c:v>2079.32206120454</c:v>
                </c:pt>
                <c:pt idx="166">
                  <c:v>2228.21130526874</c:v>
                </c:pt>
                <c:pt idx="167">
                  <c:v>2356.69795023749</c:v>
                </c:pt>
                <c:pt idx="168">
                  <c:v>2131.21126283571</c:v>
                </c:pt>
                <c:pt idx="169">
                  <c:v>2234.20208547499</c:v>
                </c:pt>
                <c:pt idx="170">
                  <c:v>1989.22527337499</c:v>
                </c:pt>
                <c:pt idx="171">
                  <c:v>2125.41467228749</c:v>
                </c:pt>
                <c:pt idx="172">
                  <c:v>2170.77188193332</c:v>
                </c:pt>
                <c:pt idx="173">
                  <c:v>2196.29722014444</c:v>
                </c:pt>
                <c:pt idx="174">
                  <c:v>1865.2321135875</c:v>
                </c:pt>
                <c:pt idx="175">
                  <c:v>1895.44555601666</c:v>
                </c:pt>
                <c:pt idx="176">
                  <c:v>1872.26388838999</c:v>
                </c:pt>
                <c:pt idx="177">
                  <c:v>2022.95829487777</c:v>
                </c:pt>
                <c:pt idx="178">
                  <c:v>1790.18647413333</c:v>
                </c:pt>
                <c:pt idx="179">
                  <c:v>2015.71379709999</c:v>
                </c:pt>
                <c:pt idx="180">
                  <c:v>2113.80004124999</c:v>
                </c:pt>
                <c:pt idx="181">
                  <c:v>2426.57113838636</c:v>
                </c:pt>
                <c:pt idx="182">
                  <c:v>2448.2077286</c:v>
                </c:pt>
                <c:pt idx="183">
                  <c:v>2647.56383217499</c:v>
                </c:pt>
                <c:pt idx="184">
                  <c:v>2236.15374529583</c:v>
                </c:pt>
                <c:pt idx="185">
                  <c:v>2960.33682387499</c:v>
                </c:pt>
                <c:pt idx="186">
                  <c:v>2407.52970753749</c:v>
                </c:pt>
                <c:pt idx="187">
                  <c:v>3090.43496979999</c:v>
                </c:pt>
                <c:pt idx="188">
                  <c:v>2288.51965049999</c:v>
                </c:pt>
                <c:pt idx="189">
                  <c:v>2693.87588989999</c:v>
                </c:pt>
                <c:pt idx="190">
                  <c:v>2206.79499926428</c:v>
                </c:pt>
                <c:pt idx="191">
                  <c:v>2365.86784169166</c:v>
                </c:pt>
                <c:pt idx="192">
                  <c:v>2131.56174233333</c:v>
                </c:pt>
                <c:pt idx="193">
                  <c:v>2359.29766423333</c:v>
                </c:pt>
                <c:pt idx="194">
                  <c:v>2337.95007038333</c:v>
                </c:pt>
                <c:pt idx="195">
                  <c:v>2912.48334225416</c:v>
                </c:pt>
                <c:pt idx="196">
                  <c:v>2295.36409883333</c:v>
                </c:pt>
                <c:pt idx="197">
                  <c:v>2958.72622309583</c:v>
                </c:pt>
                <c:pt idx="198">
                  <c:v>2372.27891527083</c:v>
                </c:pt>
                <c:pt idx="199">
                  <c:v>2944.16650499166</c:v>
                </c:pt>
                <c:pt idx="200">
                  <c:v>2434.25459832916</c:v>
                </c:pt>
                <c:pt idx="201">
                  <c:v>2856.51360130416</c:v>
                </c:pt>
                <c:pt idx="202">
                  <c:v>2476.64930895833</c:v>
                </c:pt>
                <c:pt idx="203">
                  <c:v>2751.03329430833</c:v>
                </c:pt>
                <c:pt idx="204">
                  <c:v>2073.36106070416</c:v>
                </c:pt>
                <c:pt idx="205">
                  <c:v>2334.16484004166</c:v>
                </c:pt>
                <c:pt idx="206">
                  <c:v>2055.77501047916</c:v>
                </c:pt>
                <c:pt idx="207">
                  <c:v>2477.56675785416</c:v>
                </c:pt>
                <c:pt idx="208">
                  <c:v>2201.84284489583</c:v>
                </c:pt>
                <c:pt idx="209">
                  <c:v>2783.74589444583</c:v>
                </c:pt>
                <c:pt idx="210">
                  <c:v>2191.43477437916</c:v>
                </c:pt>
                <c:pt idx="211">
                  <c:v>2736.84446977916</c:v>
                </c:pt>
                <c:pt idx="212">
                  <c:v>2292.4584675375</c:v>
                </c:pt>
                <c:pt idx="213">
                  <c:v>2600.28185396249</c:v>
                </c:pt>
                <c:pt idx="214">
                  <c:v>2238.15946172916</c:v>
                </c:pt>
                <c:pt idx="215">
                  <c:v>2570.20604453333</c:v>
                </c:pt>
                <c:pt idx="216">
                  <c:v>2178.1450835375</c:v>
                </c:pt>
                <c:pt idx="217">
                  <c:v>2458.40684033333</c:v>
                </c:pt>
                <c:pt idx="218">
                  <c:v>1947.36504725416</c:v>
                </c:pt>
                <c:pt idx="219">
                  <c:v>2177.58416894166</c:v>
                </c:pt>
                <c:pt idx="220">
                  <c:v>1923.60790184999</c:v>
                </c:pt>
                <c:pt idx="221">
                  <c:v>2084.32683278749</c:v>
                </c:pt>
                <c:pt idx="222">
                  <c:v>2178.30106846249</c:v>
                </c:pt>
                <c:pt idx="223">
                  <c:v>2342.10357590416</c:v>
                </c:pt>
                <c:pt idx="224">
                  <c:v>1986.81198182083</c:v>
                </c:pt>
                <c:pt idx="225">
                  <c:v>2492.27483820416</c:v>
                </c:pt>
                <c:pt idx="226">
                  <c:v>2011.5389245375</c:v>
                </c:pt>
                <c:pt idx="227">
                  <c:v>2541.34914761666</c:v>
                </c:pt>
                <c:pt idx="228">
                  <c:v>1869.39257215833</c:v>
                </c:pt>
                <c:pt idx="229">
                  <c:v>2113.91666956249</c:v>
                </c:pt>
                <c:pt idx="230">
                  <c:v>2041.38881328749</c:v>
                </c:pt>
                <c:pt idx="231">
                  <c:v>2392.579391925</c:v>
                </c:pt>
                <c:pt idx="232">
                  <c:v>1847.62060247499</c:v>
                </c:pt>
                <c:pt idx="233">
                  <c:v>2103.77992917916</c:v>
                </c:pt>
                <c:pt idx="234">
                  <c:v>1684.32359953749</c:v>
                </c:pt>
                <c:pt idx="235">
                  <c:v>2057.46721011249</c:v>
                </c:pt>
                <c:pt idx="236">
                  <c:v>2173.15311442777</c:v>
                </c:pt>
                <c:pt idx="237">
                  <c:v>2380.51477885833</c:v>
                </c:pt>
                <c:pt idx="238">
                  <c:v>2278.77729557142</c:v>
                </c:pt>
                <c:pt idx="239">
                  <c:v>2434.34051283333</c:v>
                </c:pt>
                <c:pt idx="240">
                  <c:v>2006.54166748749</c:v>
                </c:pt>
                <c:pt idx="241">
                  <c:v>2714.09375346363</c:v>
                </c:pt>
                <c:pt idx="242">
                  <c:v>2391.99487152856</c:v>
                </c:pt>
                <c:pt idx="243">
                  <c:v>2329.30390846249</c:v>
                </c:pt>
                <c:pt idx="244">
                  <c:v>2077.12188125416</c:v>
                </c:pt>
                <c:pt idx="245">
                  <c:v>2290.59479341249</c:v>
                </c:pt>
                <c:pt idx="246">
                  <c:v>1952.59763563333</c:v>
                </c:pt>
                <c:pt idx="247">
                  <c:v>2205.24212863181</c:v>
                </c:pt>
                <c:pt idx="248">
                  <c:v>1820.63976945833</c:v>
                </c:pt>
                <c:pt idx="249">
                  <c:v>1949.23769951249</c:v>
                </c:pt>
                <c:pt idx="250">
                  <c:v>2011.55883220416</c:v>
                </c:pt>
                <c:pt idx="251">
                  <c:v>2407.88198317916</c:v>
                </c:pt>
                <c:pt idx="252">
                  <c:v>2108.08782394583</c:v>
                </c:pt>
                <c:pt idx="253">
                  <c:v>2425.39412295499</c:v>
                </c:pt>
                <c:pt idx="254">
                  <c:v>2276.46518832856</c:v>
                </c:pt>
                <c:pt idx="255">
                  <c:v>2385.30813872083</c:v>
                </c:pt>
                <c:pt idx="256">
                  <c:v>2207.360218075</c:v>
                </c:pt>
                <c:pt idx="257">
                  <c:v>2288.46633734999</c:v>
                </c:pt>
                <c:pt idx="258">
                  <c:v>2266.71607263332</c:v>
                </c:pt>
                <c:pt idx="259">
                  <c:v>2149.35112367916</c:v>
                </c:pt>
                <c:pt idx="260">
                  <c:v>1762.31032626666</c:v>
                </c:pt>
                <c:pt idx="261">
                  <c:v>2091.57613969166</c:v>
                </c:pt>
                <c:pt idx="262">
                  <c:v>1767.72164552999</c:v>
                </c:pt>
                <c:pt idx="263">
                  <c:v>2194.28493473636</c:v>
                </c:pt>
                <c:pt idx="264">
                  <c:v>2256.88436185625</c:v>
                </c:pt>
                <c:pt idx="265">
                  <c:v>2440.14073657499</c:v>
                </c:pt>
                <c:pt idx="266">
                  <c:v>2054.22606792083</c:v>
                </c:pt>
                <c:pt idx="267">
                  <c:v>2363.76514612916</c:v>
                </c:pt>
                <c:pt idx="268">
                  <c:v>2197.86958653333</c:v>
                </c:pt>
                <c:pt idx="269">
                  <c:v>2418.22528569166</c:v>
                </c:pt>
                <c:pt idx="270">
                  <c:v>2219.37749874375</c:v>
                </c:pt>
                <c:pt idx="271">
                  <c:v>2426.06493250416</c:v>
                </c:pt>
                <c:pt idx="272">
                  <c:v>2061.16806469545</c:v>
                </c:pt>
                <c:pt idx="273">
                  <c:v>2398.41838712082</c:v>
                </c:pt>
                <c:pt idx="274">
                  <c:v>1932.51914848181</c:v>
                </c:pt>
                <c:pt idx="275">
                  <c:v>2209.34832387499</c:v>
                </c:pt>
                <c:pt idx="276">
                  <c:v>1804.00476310833</c:v>
                </c:pt>
                <c:pt idx="277">
                  <c:v>2239.49969497916</c:v>
                </c:pt>
                <c:pt idx="278">
                  <c:v>2215.29093857083</c:v>
                </c:pt>
                <c:pt idx="279">
                  <c:v>2526.59553517499</c:v>
                </c:pt>
                <c:pt idx="280">
                  <c:v>2102.52460243749</c:v>
                </c:pt>
                <c:pt idx="281">
                  <c:v>2350.89282996666</c:v>
                </c:pt>
                <c:pt idx="282">
                  <c:v>2121.10599868333</c:v>
                </c:pt>
                <c:pt idx="283">
                  <c:v>2473.74528315416</c:v>
                </c:pt>
                <c:pt idx="284">
                  <c:v>2153.70028237916</c:v>
                </c:pt>
                <c:pt idx="285">
                  <c:v>2502.30102683749</c:v>
                </c:pt>
                <c:pt idx="286">
                  <c:v>2305.66938036666</c:v>
                </c:pt>
                <c:pt idx="287">
                  <c:v>2412.18841455833</c:v>
                </c:pt>
                <c:pt idx="288">
                  <c:v>2151.88979252856</c:v>
                </c:pt>
                <c:pt idx="289">
                  <c:v>2256.65196733333</c:v>
                </c:pt>
                <c:pt idx="290">
                  <c:v>1836.86610517083</c:v>
                </c:pt>
                <c:pt idx="291">
                  <c:v>2239.72972452916</c:v>
                </c:pt>
                <c:pt idx="292">
                  <c:v>2140.23545285416</c:v>
                </c:pt>
                <c:pt idx="293">
                  <c:v>2506.31522427499</c:v>
                </c:pt>
                <c:pt idx="294">
                  <c:v>2137.79232708749</c:v>
                </c:pt>
                <c:pt idx="295">
                  <c:v>2460.35066638749</c:v>
                </c:pt>
                <c:pt idx="296">
                  <c:v>2122.52029683749</c:v>
                </c:pt>
                <c:pt idx="297">
                  <c:v>2413.45041492916</c:v>
                </c:pt>
                <c:pt idx="298">
                  <c:v>2454.07824988888</c:v>
                </c:pt>
                <c:pt idx="299">
                  <c:v>2702.18220306666</c:v>
                </c:pt>
                <c:pt idx="300">
                  <c:v>2678.75846780624</c:v>
                </c:pt>
                <c:pt idx="301">
                  <c:v>2736.04157223181</c:v>
                </c:pt>
                <c:pt idx="302">
                  <c:v>2425.22621506999</c:v>
                </c:pt>
                <c:pt idx="303">
                  <c:v>2471.23032569999</c:v>
                </c:pt>
                <c:pt idx="304">
                  <c:v>2015.50646589583</c:v>
                </c:pt>
                <c:pt idx="305">
                  <c:v>2465.77899279583</c:v>
                </c:pt>
                <c:pt idx="306">
                  <c:v>1971.19641015555</c:v>
                </c:pt>
                <c:pt idx="307">
                  <c:v>2330.57700935</c:v>
                </c:pt>
                <c:pt idx="308">
                  <c:v>2225.84398815416</c:v>
                </c:pt>
                <c:pt idx="309">
                  <c:v>2563.39731508749</c:v>
                </c:pt>
                <c:pt idx="310">
                  <c:v>2178.50056011666</c:v>
                </c:pt>
                <c:pt idx="311">
                  <c:v>2503.82538727082</c:v>
                </c:pt>
                <c:pt idx="312">
                  <c:v>2083.68529156666</c:v>
                </c:pt>
                <c:pt idx="313">
                  <c:v>2555.27386230833</c:v>
                </c:pt>
                <c:pt idx="314">
                  <c:v>2183.7037006875</c:v>
                </c:pt>
                <c:pt idx="315">
                  <c:v>2578.87080500833</c:v>
                </c:pt>
                <c:pt idx="316">
                  <c:v>2021.06139560833</c:v>
                </c:pt>
                <c:pt idx="317">
                  <c:v>2307.63491549583</c:v>
                </c:pt>
                <c:pt idx="318">
                  <c:v>1877.57732694583</c:v>
                </c:pt>
                <c:pt idx="319">
                  <c:v>2290.70281856249</c:v>
                </c:pt>
                <c:pt idx="320">
                  <c:v>2201.98938365833</c:v>
                </c:pt>
                <c:pt idx="321">
                  <c:v>2536.57887136249</c:v>
                </c:pt>
                <c:pt idx="322">
                  <c:v>2227.04053949583</c:v>
                </c:pt>
                <c:pt idx="323">
                  <c:v>2665.63045353749</c:v>
                </c:pt>
                <c:pt idx="324">
                  <c:v>2358.79196730499</c:v>
                </c:pt>
                <c:pt idx="325">
                  <c:v>2582.399825</c:v>
                </c:pt>
                <c:pt idx="326">
                  <c:v>2205.49394397083</c:v>
                </c:pt>
                <c:pt idx="327">
                  <c:v>2531.04675921249</c:v>
                </c:pt>
                <c:pt idx="328">
                  <c:v>2264.18224698333</c:v>
                </c:pt>
                <c:pt idx="329">
                  <c:v>2578.97738508333</c:v>
                </c:pt>
                <c:pt idx="330">
                  <c:v>2073.33623900833</c:v>
                </c:pt>
                <c:pt idx="331">
                  <c:v>2549.90738862916</c:v>
                </c:pt>
                <c:pt idx="332">
                  <c:v>2066.10665210416</c:v>
                </c:pt>
                <c:pt idx="333">
                  <c:v>2391.69099867916</c:v>
                </c:pt>
                <c:pt idx="334">
                  <c:v>2231.39804552916</c:v>
                </c:pt>
                <c:pt idx="335">
                  <c:v>2742.09098012499</c:v>
                </c:pt>
                <c:pt idx="336">
                  <c:v>2318.33168430833</c:v>
                </c:pt>
                <c:pt idx="337">
                  <c:v>2765.91876288333</c:v>
                </c:pt>
                <c:pt idx="338">
                  <c:v>2283.41872064166</c:v>
                </c:pt>
                <c:pt idx="339">
                  <c:v>2579.19359562083</c:v>
                </c:pt>
                <c:pt idx="340">
                  <c:v>2345.47395315833</c:v>
                </c:pt>
                <c:pt idx="341">
                  <c:v>2774.09424652499</c:v>
                </c:pt>
                <c:pt idx="342">
                  <c:v>2511.94572088888</c:v>
                </c:pt>
                <c:pt idx="343">
                  <c:v>2589.77892346666</c:v>
                </c:pt>
                <c:pt idx="344">
                  <c:v>2260.81526499375</c:v>
                </c:pt>
                <c:pt idx="345">
                  <c:v>2314.3122076</c:v>
                </c:pt>
                <c:pt idx="346">
                  <c:v>2167.07867558999</c:v>
                </c:pt>
                <c:pt idx="347">
                  <c:v>2499.29126914166</c:v>
                </c:pt>
                <c:pt idx="348">
                  <c:v>2245.5092780909</c:v>
                </c:pt>
                <c:pt idx="349">
                  <c:v>2493.59503287083</c:v>
                </c:pt>
                <c:pt idx="350">
                  <c:v>2274.48051005416</c:v>
                </c:pt>
                <c:pt idx="351">
                  <c:v>2519.40815215833</c:v>
                </c:pt>
                <c:pt idx="352">
                  <c:v>2344.20717310416</c:v>
                </c:pt>
                <c:pt idx="353">
                  <c:v>2672.66476106666</c:v>
                </c:pt>
                <c:pt idx="354">
                  <c:v>2233.11985838333</c:v>
                </c:pt>
                <c:pt idx="355">
                  <c:v>2668.06193827083</c:v>
                </c:pt>
                <c:pt idx="356">
                  <c:v>2219.43788347916</c:v>
                </c:pt>
                <c:pt idx="357">
                  <c:v>2484.59216827083</c:v>
                </c:pt>
                <c:pt idx="358">
                  <c:v>1975.01173455416</c:v>
                </c:pt>
                <c:pt idx="359">
                  <c:v>2351.17189933333</c:v>
                </c:pt>
                <c:pt idx="360">
                  <c:v>2140.66846049374</c:v>
                </c:pt>
                <c:pt idx="361">
                  <c:v>2271.06112514583</c:v>
                </c:pt>
                <c:pt idx="362">
                  <c:v>2574.48397944375</c:v>
                </c:pt>
                <c:pt idx="363">
                  <c:v>2609.55769287916</c:v>
                </c:pt>
                <c:pt idx="364">
                  <c:v>2346.58567069166</c:v>
                </c:pt>
                <c:pt idx="365">
                  <c:v>2516.72275919583</c:v>
                </c:pt>
                <c:pt idx="366">
                  <c:v>2310.17744982083</c:v>
                </c:pt>
                <c:pt idx="367">
                  <c:v>2751.074572825</c:v>
                </c:pt>
                <c:pt idx="368">
                  <c:v>2400.16433563333</c:v>
                </c:pt>
                <c:pt idx="369">
                  <c:v>2722.11024533749</c:v>
                </c:pt>
                <c:pt idx="370">
                  <c:v>2495.86808233333</c:v>
                </c:pt>
                <c:pt idx="371">
                  <c:v>2687.29877561249</c:v>
                </c:pt>
                <c:pt idx="372">
                  <c:v>2199.46207091249</c:v>
                </c:pt>
                <c:pt idx="373">
                  <c:v>2519.92224841249</c:v>
                </c:pt>
                <c:pt idx="374">
                  <c:v>2144.88940276249</c:v>
                </c:pt>
                <c:pt idx="375">
                  <c:v>2539.67372358333</c:v>
                </c:pt>
                <c:pt idx="376">
                  <c:v>2440.82286770416</c:v>
                </c:pt>
                <c:pt idx="377">
                  <c:v>2736.07004929583</c:v>
                </c:pt>
                <c:pt idx="378">
                  <c:v>2403.47110140416</c:v>
                </c:pt>
                <c:pt idx="379">
                  <c:v>2780.59656775416</c:v>
                </c:pt>
                <c:pt idx="380">
                  <c:v>2162.82213528333</c:v>
                </c:pt>
                <c:pt idx="381">
                  <c:v>2573.80934519166</c:v>
                </c:pt>
                <c:pt idx="382">
                  <c:v>2343.74935104582</c:v>
                </c:pt>
                <c:pt idx="383">
                  <c:v>2857.12401475416</c:v>
                </c:pt>
                <c:pt idx="384">
                  <c:v>2318.55609405416</c:v>
                </c:pt>
                <c:pt idx="385">
                  <c:v>2505.1996293375</c:v>
                </c:pt>
                <c:pt idx="386">
                  <c:v>2020.46666515416</c:v>
                </c:pt>
                <c:pt idx="387">
                  <c:v>2413.80579378333</c:v>
                </c:pt>
                <c:pt idx="388">
                  <c:v>1996.57660631249</c:v>
                </c:pt>
                <c:pt idx="389">
                  <c:v>2352.08242480416</c:v>
                </c:pt>
                <c:pt idx="390">
                  <c:v>2143.90196194583</c:v>
                </c:pt>
                <c:pt idx="391">
                  <c:v>2606.90755967083</c:v>
                </c:pt>
                <c:pt idx="392">
                  <c:v>2324.38466607499</c:v>
                </c:pt>
                <c:pt idx="393">
                  <c:v>2648.51487936249</c:v>
                </c:pt>
                <c:pt idx="394">
                  <c:v>2291.06714827499</c:v>
                </c:pt>
                <c:pt idx="395">
                  <c:v>2642.43248487083</c:v>
                </c:pt>
                <c:pt idx="396">
                  <c:v>2486.63121728749</c:v>
                </c:pt>
                <c:pt idx="397">
                  <c:v>2778.60836369166</c:v>
                </c:pt>
                <c:pt idx="398">
                  <c:v>2422.43725202916</c:v>
                </c:pt>
                <c:pt idx="399">
                  <c:v>2721.79990104583</c:v>
                </c:pt>
                <c:pt idx="400">
                  <c:v>2212.97765608749</c:v>
                </c:pt>
                <c:pt idx="401">
                  <c:v>2501.93616109166</c:v>
                </c:pt>
                <c:pt idx="402">
                  <c:v>2111.55417221666</c:v>
                </c:pt>
                <c:pt idx="403">
                  <c:v>2530.74923686666</c:v>
                </c:pt>
                <c:pt idx="404">
                  <c:v>2497.32237744582</c:v>
                </c:pt>
                <c:pt idx="405">
                  <c:v>2732.7460428</c:v>
                </c:pt>
                <c:pt idx="406">
                  <c:v>2439.81281928333</c:v>
                </c:pt>
                <c:pt idx="407">
                  <c:v>2564.54435559999</c:v>
                </c:pt>
                <c:pt idx="408">
                  <c:v>2039.49136985833</c:v>
                </c:pt>
                <c:pt idx="409">
                  <c:v>2476.18546571249</c:v>
                </c:pt>
                <c:pt idx="410">
                  <c:v>2162.33460924166</c:v>
                </c:pt>
                <c:pt idx="411">
                  <c:v>2505.56939507916</c:v>
                </c:pt>
                <c:pt idx="412">
                  <c:v>2241.48025920416</c:v>
                </c:pt>
                <c:pt idx="413">
                  <c:v>2905.06376192083</c:v>
                </c:pt>
                <c:pt idx="414">
                  <c:v>2179.37735012499</c:v>
                </c:pt>
                <c:pt idx="415">
                  <c:v>2483.37733289166</c:v>
                </c:pt>
                <c:pt idx="416">
                  <c:v>1970.05259845833</c:v>
                </c:pt>
                <c:pt idx="417">
                  <c:v>2421.49474734583</c:v>
                </c:pt>
                <c:pt idx="418">
                  <c:v>2258.18339816249</c:v>
                </c:pt>
                <c:pt idx="419">
                  <c:v>2689.06048949166</c:v>
                </c:pt>
                <c:pt idx="420">
                  <c:v>2404.67859014166</c:v>
                </c:pt>
                <c:pt idx="421">
                  <c:v>2544.42789524583</c:v>
                </c:pt>
                <c:pt idx="422">
                  <c:v>2210.38727154166</c:v>
                </c:pt>
                <c:pt idx="423">
                  <c:v>2609.80600562083</c:v>
                </c:pt>
                <c:pt idx="424">
                  <c:v>2268.12425149166</c:v>
                </c:pt>
                <c:pt idx="425">
                  <c:v>2530.30713499166</c:v>
                </c:pt>
                <c:pt idx="426">
                  <c:v>2248.51418866249</c:v>
                </c:pt>
                <c:pt idx="427">
                  <c:v>2468.99811348749</c:v>
                </c:pt>
                <c:pt idx="428">
                  <c:v>2007.10913980833</c:v>
                </c:pt>
                <c:pt idx="429">
                  <c:v>2283.21158609583</c:v>
                </c:pt>
                <c:pt idx="430">
                  <c:v>1926.35087117916</c:v>
                </c:pt>
                <c:pt idx="431">
                  <c:v>2254.40261676249</c:v>
                </c:pt>
                <c:pt idx="432">
                  <c:v>2097.32178277499</c:v>
                </c:pt>
                <c:pt idx="433">
                  <c:v>2447.01561947916</c:v>
                </c:pt>
                <c:pt idx="434">
                  <c:v>2058.41431788749</c:v>
                </c:pt>
                <c:pt idx="435">
                  <c:v>2263.93831295833</c:v>
                </c:pt>
                <c:pt idx="436">
                  <c:v>2234.98919308333</c:v>
                </c:pt>
                <c:pt idx="437">
                  <c:v>2535.46484212916</c:v>
                </c:pt>
                <c:pt idx="438">
                  <c:v>2119.83780242499</c:v>
                </c:pt>
                <c:pt idx="439">
                  <c:v>2611.15088102916</c:v>
                </c:pt>
                <c:pt idx="440">
                  <c:v>2252.26253229999</c:v>
                </c:pt>
                <c:pt idx="441">
                  <c:v>2435.58375557916</c:v>
                </c:pt>
                <c:pt idx="442">
                  <c:v>2012.25450448333</c:v>
                </c:pt>
                <c:pt idx="443">
                  <c:v>2306.09973747083</c:v>
                </c:pt>
                <c:pt idx="444">
                  <c:v>1922.23204700416</c:v>
                </c:pt>
                <c:pt idx="445">
                  <c:v>2271.51861991666</c:v>
                </c:pt>
                <c:pt idx="446">
                  <c:v>2173.24859736249</c:v>
                </c:pt>
                <c:pt idx="447">
                  <c:v>2599.35337378333</c:v>
                </c:pt>
                <c:pt idx="448">
                  <c:v>2275.37746371666</c:v>
                </c:pt>
                <c:pt idx="449">
                  <c:v>2572.11581872499</c:v>
                </c:pt>
                <c:pt idx="450">
                  <c:v>2332.24699680832</c:v>
                </c:pt>
                <c:pt idx="451">
                  <c:v>2522.05779345416</c:v>
                </c:pt>
                <c:pt idx="452">
                  <c:v>2178.59712327916</c:v>
                </c:pt>
                <c:pt idx="453">
                  <c:v>2640.28227455833</c:v>
                </c:pt>
                <c:pt idx="454">
                  <c:v>2262.52688914583</c:v>
                </c:pt>
                <c:pt idx="455">
                  <c:v>2547.72551071666</c:v>
                </c:pt>
                <c:pt idx="456">
                  <c:v>2002.28532935416</c:v>
                </c:pt>
                <c:pt idx="457">
                  <c:v>2471.14781382916</c:v>
                </c:pt>
                <c:pt idx="458">
                  <c:v>1884.51897674583</c:v>
                </c:pt>
                <c:pt idx="459">
                  <c:v>2284.68606550416</c:v>
                </c:pt>
                <c:pt idx="460">
                  <c:v>2074.93668484166</c:v>
                </c:pt>
                <c:pt idx="461">
                  <c:v>2416.97642242916</c:v>
                </c:pt>
                <c:pt idx="462">
                  <c:v>2351.8879272875</c:v>
                </c:pt>
                <c:pt idx="463">
                  <c:v>2486.44959794166</c:v>
                </c:pt>
                <c:pt idx="464">
                  <c:v>2205.80877638333</c:v>
                </c:pt>
                <c:pt idx="465">
                  <c:v>2463.88778062083</c:v>
                </c:pt>
                <c:pt idx="466">
                  <c:v>2389.54165507727</c:v>
                </c:pt>
                <c:pt idx="467">
                  <c:v>2462.31267484583</c:v>
                </c:pt>
                <c:pt idx="468">
                  <c:v>2597.96976569166</c:v>
                </c:pt>
                <c:pt idx="469">
                  <c:v>2343.01261447083</c:v>
                </c:pt>
                <c:pt idx="470">
                  <c:v>1935.67293994999</c:v>
                </c:pt>
                <c:pt idx="471">
                  <c:v>2169.64423167082</c:v>
                </c:pt>
                <c:pt idx="472">
                  <c:v>1945.72632709999</c:v>
                </c:pt>
                <c:pt idx="473">
                  <c:v>2415.72387097499</c:v>
                </c:pt>
                <c:pt idx="474">
                  <c:v>2155.84684030833</c:v>
                </c:pt>
                <c:pt idx="475">
                  <c:v>2488.41903222083</c:v>
                </c:pt>
                <c:pt idx="476">
                  <c:v>2225.50851965</c:v>
                </c:pt>
                <c:pt idx="477">
                  <c:v>2729.62043478749</c:v>
                </c:pt>
                <c:pt idx="478">
                  <c:v>2310.97751897499</c:v>
                </c:pt>
                <c:pt idx="479">
                  <c:v>2549.69455940416</c:v>
                </c:pt>
                <c:pt idx="480">
                  <c:v>2250.24311205416</c:v>
                </c:pt>
                <c:pt idx="481">
                  <c:v>2474.05860889999</c:v>
                </c:pt>
                <c:pt idx="482">
                  <c:v>2181.92416806249</c:v>
                </c:pt>
                <c:pt idx="483">
                  <c:v>2459.62038521249</c:v>
                </c:pt>
                <c:pt idx="484">
                  <c:v>2001.12094915833</c:v>
                </c:pt>
                <c:pt idx="485">
                  <c:v>2264.75547124166</c:v>
                </c:pt>
                <c:pt idx="486">
                  <c:v>1921.85384091666</c:v>
                </c:pt>
                <c:pt idx="487">
                  <c:v>2338.87134829166</c:v>
                </c:pt>
                <c:pt idx="488">
                  <c:v>2248.20960555416</c:v>
                </c:pt>
                <c:pt idx="489">
                  <c:v>2430.76135962083</c:v>
                </c:pt>
                <c:pt idx="490">
                  <c:v>2143.80028689999</c:v>
                </c:pt>
                <c:pt idx="491">
                  <c:v>2488.10847363333</c:v>
                </c:pt>
                <c:pt idx="492">
                  <c:v>2079.25190907916</c:v>
                </c:pt>
                <c:pt idx="493">
                  <c:v>2292.28191523333</c:v>
                </c:pt>
                <c:pt idx="494">
                  <c:v>2187.0871952125</c:v>
                </c:pt>
                <c:pt idx="495">
                  <c:v>2578.15389396249</c:v>
                </c:pt>
                <c:pt idx="496">
                  <c:v>2073.3774350125</c:v>
                </c:pt>
                <c:pt idx="497">
                  <c:v>2368.67286151249</c:v>
                </c:pt>
                <c:pt idx="498">
                  <c:v>2047.02258731666</c:v>
                </c:pt>
                <c:pt idx="499">
                  <c:v>2192.48605869999</c:v>
                </c:pt>
                <c:pt idx="500">
                  <c:v>1873.06487834583</c:v>
                </c:pt>
                <c:pt idx="501">
                  <c:v>2222.55402514583</c:v>
                </c:pt>
                <c:pt idx="502">
                  <c:v>2121.85638987916</c:v>
                </c:pt>
                <c:pt idx="503">
                  <c:v>2453.316916775</c:v>
                </c:pt>
                <c:pt idx="504">
                  <c:v>2205.26239632083</c:v>
                </c:pt>
                <c:pt idx="505">
                  <c:v>2507.61188440833</c:v>
                </c:pt>
                <c:pt idx="506">
                  <c:v>2188.46527114583</c:v>
                </c:pt>
                <c:pt idx="507">
                  <c:v>2584.44164734999</c:v>
                </c:pt>
                <c:pt idx="508">
                  <c:v>2158.91953861249</c:v>
                </c:pt>
                <c:pt idx="509">
                  <c:v>2390.73995853749</c:v>
                </c:pt>
                <c:pt idx="510">
                  <c:v>2250.08919992083</c:v>
                </c:pt>
                <c:pt idx="511">
                  <c:v>2573.54704090499</c:v>
                </c:pt>
                <c:pt idx="512">
                  <c:v>1949.99126975416</c:v>
                </c:pt>
                <c:pt idx="513">
                  <c:v>2521.48580695833</c:v>
                </c:pt>
                <c:pt idx="514">
                  <c:v>2023.59938779166</c:v>
                </c:pt>
                <c:pt idx="515">
                  <c:v>2372.40707694166</c:v>
                </c:pt>
                <c:pt idx="516">
                  <c:v>2288.52837201666</c:v>
                </c:pt>
                <c:pt idx="517">
                  <c:v>2750.91704580416</c:v>
                </c:pt>
                <c:pt idx="518">
                  <c:v>2395.36687680416</c:v>
                </c:pt>
                <c:pt idx="519">
                  <c:v>2506.80389274999</c:v>
                </c:pt>
                <c:pt idx="520">
                  <c:v>2280.47269402916</c:v>
                </c:pt>
                <c:pt idx="521">
                  <c:v>2566.94483657083</c:v>
                </c:pt>
                <c:pt idx="522">
                  <c:v>2116.55232921249</c:v>
                </c:pt>
                <c:pt idx="523">
                  <c:v>2461.17381937083</c:v>
                </c:pt>
                <c:pt idx="524">
                  <c:v>2288.29357438332</c:v>
                </c:pt>
                <c:pt idx="525">
                  <c:v>2493.15804917499</c:v>
                </c:pt>
                <c:pt idx="526">
                  <c:v>1997.42899145416</c:v>
                </c:pt>
                <c:pt idx="527">
                  <c:v>2123.21531239166</c:v>
                </c:pt>
                <c:pt idx="528">
                  <c:v>1959.95311312</c:v>
                </c:pt>
                <c:pt idx="529">
                  <c:v>2364.44915055416</c:v>
                </c:pt>
                <c:pt idx="530">
                  <c:v>2248.01901051249</c:v>
                </c:pt>
                <c:pt idx="531">
                  <c:v>2449.88663313333</c:v>
                </c:pt>
                <c:pt idx="532">
                  <c:v>2096.23885985416</c:v>
                </c:pt>
                <c:pt idx="533">
                  <c:v>2440.35530283749</c:v>
                </c:pt>
                <c:pt idx="534">
                  <c:v>2174.91725055416</c:v>
                </c:pt>
                <c:pt idx="535">
                  <c:v>2413.51053229166</c:v>
                </c:pt>
                <c:pt idx="536">
                  <c:v>2185.63629482916</c:v>
                </c:pt>
                <c:pt idx="537">
                  <c:v>2488.20337345</c:v>
                </c:pt>
                <c:pt idx="538">
                  <c:v>2231.60662981249</c:v>
                </c:pt>
                <c:pt idx="539">
                  <c:v>2409.38050573749</c:v>
                </c:pt>
                <c:pt idx="540">
                  <c:v>1921.26929189583</c:v>
                </c:pt>
                <c:pt idx="541">
                  <c:v>2087.17798111666</c:v>
                </c:pt>
                <c:pt idx="542">
                  <c:v>1892.15759709583</c:v>
                </c:pt>
                <c:pt idx="543">
                  <c:v>2173.01398877083</c:v>
                </c:pt>
                <c:pt idx="544">
                  <c:v>1895.05462394166</c:v>
                </c:pt>
                <c:pt idx="545">
                  <c:v>2193.56885432916</c:v>
                </c:pt>
                <c:pt idx="546">
                  <c:v>2045.44873609166</c:v>
                </c:pt>
                <c:pt idx="547">
                  <c:v>2551.98480454166</c:v>
                </c:pt>
                <c:pt idx="548">
                  <c:v>2031.18684132499</c:v>
                </c:pt>
                <c:pt idx="549">
                  <c:v>2302.83701360416</c:v>
                </c:pt>
                <c:pt idx="550">
                  <c:v>2265.20051680714</c:v>
                </c:pt>
                <c:pt idx="551">
                  <c:v>2274.59853096249</c:v>
                </c:pt>
                <c:pt idx="552">
                  <c:v>2135.99824755833</c:v>
                </c:pt>
                <c:pt idx="553">
                  <c:v>2375.10637022499</c:v>
                </c:pt>
                <c:pt idx="554">
                  <c:v>2001.98410709999</c:v>
                </c:pt>
                <c:pt idx="555">
                  <c:v>2222.65080154583</c:v>
                </c:pt>
                <c:pt idx="556">
                  <c:v>1869.44751362083</c:v>
                </c:pt>
                <c:pt idx="557">
                  <c:v>2031.89050104166</c:v>
                </c:pt>
                <c:pt idx="558">
                  <c:v>2070.8754603</c:v>
                </c:pt>
                <c:pt idx="559">
                  <c:v>2413.41911486249</c:v>
                </c:pt>
                <c:pt idx="560">
                  <c:v>2139.01039754583</c:v>
                </c:pt>
                <c:pt idx="561">
                  <c:v>2448.62247427499</c:v>
                </c:pt>
                <c:pt idx="562">
                  <c:v>2178.94914845416</c:v>
                </c:pt>
                <c:pt idx="563">
                  <c:v>2403.73271083333</c:v>
                </c:pt>
                <c:pt idx="564">
                  <c:v>2120.54945463333</c:v>
                </c:pt>
                <c:pt idx="565">
                  <c:v>2471.67496623749</c:v>
                </c:pt>
                <c:pt idx="566">
                  <c:v>2086.25206199583</c:v>
                </c:pt>
                <c:pt idx="567">
                  <c:v>2442.88668104166</c:v>
                </c:pt>
                <c:pt idx="568">
                  <c:v>1963.98788502083</c:v>
                </c:pt>
                <c:pt idx="569">
                  <c:v>2139.93995152083</c:v>
                </c:pt>
                <c:pt idx="570">
                  <c:v>1766.14336092083</c:v>
                </c:pt>
                <c:pt idx="571">
                  <c:v>2132.2404889</c:v>
                </c:pt>
                <c:pt idx="572">
                  <c:v>2083.75894689166</c:v>
                </c:pt>
                <c:pt idx="573">
                  <c:v>2341.16714165</c:v>
                </c:pt>
                <c:pt idx="574">
                  <c:v>2093.52091827916</c:v>
                </c:pt>
                <c:pt idx="575">
                  <c:v>2386.49044517916</c:v>
                </c:pt>
                <c:pt idx="576">
                  <c:v>2032.89357722083</c:v>
                </c:pt>
                <c:pt idx="577">
                  <c:v>2301.32898219166</c:v>
                </c:pt>
                <c:pt idx="578">
                  <c:v>2119.08520122499</c:v>
                </c:pt>
                <c:pt idx="579">
                  <c:v>2325.91377093333</c:v>
                </c:pt>
                <c:pt idx="580">
                  <c:v>2009.09985255833</c:v>
                </c:pt>
                <c:pt idx="581">
                  <c:v>2283.40030246249</c:v>
                </c:pt>
                <c:pt idx="582">
                  <c:v>1919.36765767499</c:v>
                </c:pt>
                <c:pt idx="583">
                  <c:v>2286.60910756249</c:v>
                </c:pt>
                <c:pt idx="584">
                  <c:v>1848.72475675416</c:v>
                </c:pt>
                <c:pt idx="585">
                  <c:v>2055.52582917499</c:v>
                </c:pt>
                <c:pt idx="586">
                  <c:v>2065.41586628749</c:v>
                </c:pt>
                <c:pt idx="587">
                  <c:v>2347.57120447916</c:v>
                </c:pt>
                <c:pt idx="588">
                  <c:v>1953.47188250833</c:v>
                </c:pt>
                <c:pt idx="589">
                  <c:v>2347.20381338333</c:v>
                </c:pt>
                <c:pt idx="590">
                  <c:v>2089.96745725416</c:v>
                </c:pt>
                <c:pt idx="591">
                  <c:v>2308.83261773749</c:v>
                </c:pt>
                <c:pt idx="592">
                  <c:v>2021.69496208333</c:v>
                </c:pt>
                <c:pt idx="593">
                  <c:v>2344.45697258749</c:v>
                </c:pt>
                <c:pt idx="594">
                  <c:v>1995.23664708333</c:v>
                </c:pt>
                <c:pt idx="595">
                  <c:v>2290.15695679166</c:v>
                </c:pt>
                <c:pt idx="596">
                  <c:v>1905.25924411666</c:v>
                </c:pt>
                <c:pt idx="597">
                  <c:v>2075.94736607916</c:v>
                </c:pt>
                <c:pt idx="598">
                  <c:v>1785.04750215416</c:v>
                </c:pt>
                <c:pt idx="599">
                  <c:v>2224.86612480833</c:v>
                </c:pt>
                <c:pt idx="600">
                  <c:v>2128.69922132499</c:v>
                </c:pt>
                <c:pt idx="601">
                  <c:v>2480.63464542083</c:v>
                </c:pt>
                <c:pt idx="602">
                  <c:v>2124.5476204875</c:v>
                </c:pt>
                <c:pt idx="603">
                  <c:v>2571.44064713749</c:v>
                </c:pt>
                <c:pt idx="604">
                  <c:v>2217.52680752499</c:v>
                </c:pt>
                <c:pt idx="605">
                  <c:v>2683.70110607499</c:v>
                </c:pt>
                <c:pt idx="606">
                  <c:v>2215.45282554166</c:v>
                </c:pt>
                <c:pt idx="607">
                  <c:v>2554.69169653749</c:v>
                </c:pt>
                <c:pt idx="608">
                  <c:v>2151.40103832083</c:v>
                </c:pt>
                <c:pt idx="609">
                  <c:v>2318.92517236249</c:v>
                </c:pt>
                <c:pt idx="610">
                  <c:v>1916.75235766249</c:v>
                </c:pt>
                <c:pt idx="611">
                  <c:v>2233.58556535833</c:v>
                </c:pt>
                <c:pt idx="612">
                  <c:v>1842.99417241818</c:v>
                </c:pt>
                <c:pt idx="613">
                  <c:v>2396.8332543875</c:v>
                </c:pt>
                <c:pt idx="614">
                  <c:v>2408.68521156666</c:v>
                </c:pt>
                <c:pt idx="615">
                  <c:v>2942.79362559166</c:v>
                </c:pt>
                <c:pt idx="616">
                  <c:v>2237.45655339583</c:v>
                </c:pt>
                <c:pt idx="617">
                  <c:v>2495.23964942916</c:v>
                </c:pt>
                <c:pt idx="618">
                  <c:v>2130.48374778333</c:v>
                </c:pt>
                <c:pt idx="619">
                  <c:v>2358.77429511249</c:v>
                </c:pt>
                <c:pt idx="620">
                  <c:v>2085.40950288333</c:v>
                </c:pt>
                <c:pt idx="621">
                  <c:v>2406.06192685</c:v>
                </c:pt>
                <c:pt idx="622">
                  <c:v>2127.61954190833</c:v>
                </c:pt>
                <c:pt idx="623">
                  <c:v>2560.46907871666</c:v>
                </c:pt>
                <c:pt idx="624">
                  <c:v>1850.07687563749</c:v>
                </c:pt>
                <c:pt idx="625">
                  <c:v>2426.71251379999</c:v>
                </c:pt>
                <c:pt idx="626">
                  <c:v>1944.93938328749</c:v>
                </c:pt>
                <c:pt idx="627">
                  <c:v>2505.62112916666</c:v>
                </c:pt>
                <c:pt idx="628">
                  <c:v>2269.73101787916</c:v>
                </c:pt>
                <c:pt idx="629">
                  <c:v>2653.84190859166</c:v>
                </c:pt>
                <c:pt idx="630">
                  <c:v>2142.66554924166</c:v>
                </c:pt>
                <c:pt idx="631">
                  <c:v>2586.23360374999</c:v>
                </c:pt>
                <c:pt idx="632">
                  <c:v>2057.54990157499</c:v>
                </c:pt>
                <c:pt idx="633">
                  <c:v>2420.39333094166</c:v>
                </c:pt>
                <c:pt idx="634">
                  <c:v>2060.36461325833</c:v>
                </c:pt>
                <c:pt idx="635">
                  <c:v>2679.90891471249</c:v>
                </c:pt>
                <c:pt idx="636">
                  <c:v>2216.17116314583</c:v>
                </c:pt>
                <c:pt idx="637">
                  <c:v>2859.29657275416</c:v>
                </c:pt>
                <c:pt idx="638">
                  <c:v>2109.58620181666</c:v>
                </c:pt>
                <c:pt idx="639">
                  <c:v>2827.93923481666</c:v>
                </c:pt>
                <c:pt idx="640">
                  <c:v>2155.95530433332</c:v>
                </c:pt>
                <c:pt idx="641">
                  <c:v>2406.62763356666</c:v>
                </c:pt>
                <c:pt idx="642">
                  <c:v>2279.28140259999</c:v>
                </c:pt>
                <c:pt idx="643">
                  <c:v>2478.70375900416</c:v>
                </c:pt>
                <c:pt idx="644">
                  <c:v>2198.48364248888</c:v>
                </c:pt>
                <c:pt idx="645">
                  <c:v>2294.22152299999</c:v>
                </c:pt>
                <c:pt idx="646">
                  <c:v>2159.42412805714</c:v>
                </c:pt>
                <c:pt idx="647">
                  <c:v>2379.47266078749</c:v>
                </c:pt>
                <c:pt idx="648">
                  <c:v>2352.64787476874</c:v>
                </c:pt>
                <c:pt idx="649">
                  <c:v>2646.20141033333</c:v>
                </c:pt>
                <c:pt idx="650">
                  <c:v>2272.50585269166</c:v>
                </c:pt>
                <c:pt idx="651">
                  <c:v>2652.71588895416</c:v>
                </c:pt>
                <c:pt idx="652">
                  <c:v>2005.09100426666</c:v>
                </c:pt>
                <c:pt idx="653">
                  <c:v>2234.64248065416</c:v>
                </c:pt>
                <c:pt idx="654">
                  <c:v>1864.39245998333</c:v>
                </c:pt>
                <c:pt idx="655">
                  <c:v>2024.61291038333</c:v>
                </c:pt>
                <c:pt idx="656">
                  <c:v>2005.26518903749</c:v>
                </c:pt>
                <c:pt idx="657">
                  <c:v>2374.92759146363</c:v>
                </c:pt>
                <c:pt idx="658">
                  <c:v>2211.18201264285</c:v>
                </c:pt>
                <c:pt idx="659">
                  <c:v>2294.16193281666</c:v>
                </c:pt>
                <c:pt idx="660">
                  <c:v>2257.75924128888</c:v>
                </c:pt>
                <c:pt idx="661">
                  <c:v>2585.15837254999</c:v>
                </c:pt>
                <c:pt idx="662">
                  <c:v>2375.323090725</c:v>
                </c:pt>
                <c:pt idx="663">
                  <c:v>2790.3557368125</c:v>
                </c:pt>
                <c:pt idx="664">
                  <c:v>2180.84489735416</c:v>
                </c:pt>
                <c:pt idx="665">
                  <c:v>2363.51145879583</c:v>
                </c:pt>
                <c:pt idx="666">
                  <c:v>1955.83626720416</c:v>
                </c:pt>
                <c:pt idx="667">
                  <c:v>2182.42597424999</c:v>
                </c:pt>
                <c:pt idx="668">
                  <c:v>1895.85642568333</c:v>
                </c:pt>
                <c:pt idx="669">
                  <c:v>2189.57641088749</c:v>
                </c:pt>
                <c:pt idx="670">
                  <c:v>2183.91100407083</c:v>
                </c:pt>
                <c:pt idx="671">
                  <c:v>2385.10862179999</c:v>
                </c:pt>
                <c:pt idx="672">
                  <c:v>2154.49836010999</c:v>
                </c:pt>
                <c:pt idx="673">
                  <c:v>2305.91359163333</c:v>
                </c:pt>
                <c:pt idx="674">
                  <c:v>2196.01977080999</c:v>
                </c:pt>
                <c:pt idx="675">
                  <c:v>2522.46464242083</c:v>
                </c:pt>
                <c:pt idx="676">
                  <c:v>2208.31865280555</c:v>
                </c:pt>
                <c:pt idx="677">
                  <c:v>2698.29579794999</c:v>
                </c:pt>
                <c:pt idx="678">
                  <c:v>2409.15837637083</c:v>
                </c:pt>
                <c:pt idx="679">
                  <c:v>2971.84343904999</c:v>
                </c:pt>
                <c:pt idx="680">
                  <c:v>2197.71555454166</c:v>
                </c:pt>
                <c:pt idx="681">
                  <c:v>2426.73252114999</c:v>
                </c:pt>
                <c:pt idx="682">
                  <c:v>1917.03239828749</c:v>
                </c:pt>
                <c:pt idx="683">
                  <c:v>2237.13924589583</c:v>
                </c:pt>
                <c:pt idx="684">
                  <c:v>2091.60837451666</c:v>
                </c:pt>
                <c:pt idx="685">
                  <c:v>2455.19467472499</c:v>
                </c:pt>
                <c:pt idx="686">
                  <c:v>2079.37890237083</c:v>
                </c:pt>
                <c:pt idx="687">
                  <c:v>2727.84421164166</c:v>
                </c:pt>
                <c:pt idx="688">
                  <c:v>2275.32213169999</c:v>
                </c:pt>
                <c:pt idx="689">
                  <c:v>2934.10397338333</c:v>
                </c:pt>
                <c:pt idx="690">
                  <c:v>2528.13584257083</c:v>
                </c:pt>
                <c:pt idx="691">
                  <c:v>3237.79916354166</c:v>
                </c:pt>
                <c:pt idx="692">
                  <c:v>2579.88358816249</c:v>
                </c:pt>
                <c:pt idx="693">
                  <c:v>3354.06702878333</c:v>
                </c:pt>
                <c:pt idx="694">
                  <c:v>2559.62945101666</c:v>
                </c:pt>
                <c:pt idx="695">
                  <c:v>3264.2371815875</c:v>
                </c:pt>
                <c:pt idx="696">
                  <c:v>2490.98879637499</c:v>
                </c:pt>
                <c:pt idx="697">
                  <c:v>3251.37714678333</c:v>
                </c:pt>
                <c:pt idx="698">
                  <c:v>2665.42444382916</c:v>
                </c:pt>
                <c:pt idx="699">
                  <c:v>3741.02906861249</c:v>
                </c:pt>
                <c:pt idx="700">
                  <c:v>2649.43510347083</c:v>
                </c:pt>
                <c:pt idx="701">
                  <c:v>2959.32609863749</c:v>
                </c:pt>
                <c:pt idx="702">
                  <c:v>2373.5209118875</c:v>
                </c:pt>
                <c:pt idx="703">
                  <c:v>2643.75417673333</c:v>
                </c:pt>
                <c:pt idx="704">
                  <c:v>2349.55593094166</c:v>
                </c:pt>
                <c:pt idx="705">
                  <c:v>2650.22109213333</c:v>
                </c:pt>
                <c:pt idx="706">
                  <c:v>2229.10723412916</c:v>
                </c:pt>
                <c:pt idx="707">
                  <c:v>2575.23867805833</c:v>
                </c:pt>
                <c:pt idx="708">
                  <c:v>2011.67501179166</c:v>
                </c:pt>
                <c:pt idx="709">
                  <c:v>2307.41264832916</c:v>
                </c:pt>
                <c:pt idx="710">
                  <c:v>1953.21403804166</c:v>
                </c:pt>
                <c:pt idx="711">
                  <c:v>2361.07397340833</c:v>
                </c:pt>
                <c:pt idx="712">
                  <c:v>2209.59354426666</c:v>
                </c:pt>
                <c:pt idx="713">
                  <c:v>2695.23287887916</c:v>
                </c:pt>
                <c:pt idx="714">
                  <c:v>2273.24295035</c:v>
                </c:pt>
                <c:pt idx="715">
                  <c:v>2567.26275027916</c:v>
                </c:pt>
                <c:pt idx="716">
                  <c:v>2067.92247909583</c:v>
                </c:pt>
                <c:pt idx="717">
                  <c:v>2223.43608991666</c:v>
                </c:pt>
                <c:pt idx="718">
                  <c:v>1903.09204798333</c:v>
                </c:pt>
                <c:pt idx="719">
                  <c:v>2306.41512666249</c:v>
                </c:pt>
                <c:pt idx="720">
                  <c:v>2159.70688459166</c:v>
                </c:pt>
                <c:pt idx="721">
                  <c:v>2454.25766834583</c:v>
                </c:pt>
                <c:pt idx="722">
                  <c:v>2020.56947917272</c:v>
                </c:pt>
                <c:pt idx="723">
                  <c:v>2363.03645631666</c:v>
                </c:pt>
                <c:pt idx="724">
                  <c:v>1970.46141897499</c:v>
                </c:pt>
                <c:pt idx="725">
                  <c:v>2549.55666241666</c:v>
                </c:pt>
                <c:pt idx="726">
                  <c:v>2301.83577068333</c:v>
                </c:pt>
                <c:pt idx="727">
                  <c:v>2660.86627086249</c:v>
                </c:pt>
                <c:pt idx="728">
                  <c:v>2197.63033545833</c:v>
                </c:pt>
                <c:pt idx="729">
                  <c:v>2379.96887625416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C278-4879-90A6-362829E058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06287160"/>
        <c:axId val="2137199272"/>
      </c:scatterChart>
      <c:valAx>
        <c:axId val="-2106287160"/>
        <c:scaling>
          <c:orientation val="minMax"/>
        </c:scaling>
        <c:delete val="0"/>
        <c:axPos val="b"/>
        <c:majorGridlines/>
        <c:numFmt formatCode="&quot;$&quot;#,##0" sourceLinked="0"/>
        <c:majorTickMark val="out"/>
        <c:minorTickMark val="none"/>
        <c:tickLblPos val="nextTo"/>
        <c:crossAx val="2137199272"/>
        <c:crosses val="autoZero"/>
        <c:crossBetween val="midCat"/>
      </c:valAx>
      <c:valAx>
        <c:axId val="2137199272"/>
        <c:scaling>
          <c:orientation val="minMax"/>
        </c:scaling>
        <c:delete val="0"/>
        <c:axPos val="l"/>
        <c:majorGridlines/>
        <c:numFmt formatCode="0" sourceLinked="0"/>
        <c:majorTickMark val="out"/>
        <c:minorTickMark val="none"/>
        <c:tickLblPos val="nextTo"/>
        <c:crossAx val="-2106287160"/>
        <c:crosses val="autoZero"/>
        <c:crossBetween val="midCat"/>
      </c:valAx>
    </c:plotArea>
    <c:legend>
      <c:legendPos val="t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dirty="0"/>
              <a:t>Combined (</a:t>
            </a:r>
            <a:r>
              <a:rPr lang="en-US" sz="1200" dirty="0" err="1"/>
              <a:t>Soft+Hard</a:t>
            </a:r>
            <a:r>
              <a:rPr lang="en-US" sz="1200" dirty="0"/>
              <a:t>) Water Volume</a:t>
            </a:r>
          </a:p>
        </c:rich>
      </c:tx>
      <c:layout/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v>Combined (Soft+Hard) Water Volume</c:v>
          </c:tx>
          <c:spPr>
            <a:ln w="31750">
              <a:noFill/>
            </a:ln>
          </c:spPr>
          <c:marker>
            <c:spPr>
              <a:solidFill>
                <a:srgbClr val="0000FF"/>
              </a:solidFill>
            </c:spPr>
          </c:marker>
          <c:xVal>
            <c:numRef>
              <c:f>'Water Trading Repository Table'!$C$3:$C$1462</c:f>
              <c:numCache>
                <c:formatCode>"$"#,##0.00</c:formatCode>
                <c:ptCount val="1460"/>
                <c:pt idx="0">
                  <c:v>89.33425</c:v>
                </c:pt>
                <c:pt idx="1">
                  <c:v>61.946</c:v>
                </c:pt>
                <c:pt idx="2">
                  <c:v>45.9017499999999</c:v>
                </c:pt>
                <c:pt idx="3">
                  <c:v>80.85825</c:v>
                </c:pt>
                <c:pt idx="4">
                  <c:v>55.9618333333333</c:v>
                </c:pt>
                <c:pt idx="5">
                  <c:v>101.094833333333</c:v>
                </c:pt>
                <c:pt idx="6">
                  <c:v>26.665</c:v>
                </c:pt>
                <c:pt idx="7">
                  <c:v>38.8945454545454</c:v>
                </c:pt>
                <c:pt idx="8">
                  <c:v>46.715</c:v>
                </c:pt>
                <c:pt idx="9">
                  <c:v>46.2086363636363</c:v>
                </c:pt>
                <c:pt idx="10">
                  <c:v>41.856</c:v>
                </c:pt>
                <c:pt idx="11">
                  <c:v>46.0137499999999</c:v>
                </c:pt>
                <c:pt idx="12">
                  <c:v>34.894375</c:v>
                </c:pt>
                <c:pt idx="13">
                  <c:v>53.3129166666666</c:v>
                </c:pt>
                <c:pt idx="14">
                  <c:v>70.3070833333333</c:v>
                </c:pt>
                <c:pt idx="15">
                  <c:v>64.5529166666666</c:v>
                </c:pt>
                <c:pt idx="16">
                  <c:v>49.77625</c:v>
                </c:pt>
                <c:pt idx="17">
                  <c:v>61.4833333333333</c:v>
                </c:pt>
                <c:pt idx="18">
                  <c:v>56.4070833333333</c:v>
                </c:pt>
                <c:pt idx="19">
                  <c:v>69.81375</c:v>
                </c:pt>
                <c:pt idx="20">
                  <c:v>53.6095833333333</c:v>
                </c:pt>
                <c:pt idx="21">
                  <c:v>53.2916666666666</c:v>
                </c:pt>
                <c:pt idx="22">
                  <c:v>53.8445833333333</c:v>
                </c:pt>
                <c:pt idx="23">
                  <c:v>53.3479166666666</c:v>
                </c:pt>
                <c:pt idx="24">
                  <c:v>55.7121666666666</c:v>
                </c:pt>
                <c:pt idx="25">
                  <c:v>66.45083333333331</c:v>
                </c:pt>
                <c:pt idx="26">
                  <c:v>78.9985833333333</c:v>
                </c:pt>
                <c:pt idx="27">
                  <c:v>159.797333333333</c:v>
                </c:pt>
                <c:pt idx="28">
                  <c:v>108.421</c:v>
                </c:pt>
                <c:pt idx="29">
                  <c:v>132.914</c:v>
                </c:pt>
                <c:pt idx="30">
                  <c:v>68.8665833333333</c:v>
                </c:pt>
                <c:pt idx="31">
                  <c:v>50.4875</c:v>
                </c:pt>
                <c:pt idx="32">
                  <c:v>47.1818333333333</c:v>
                </c:pt>
                <c:pt idx="33">
                  <c:v>43.9378333333333</c:v>
                </c:pt>
                <c:pt idx="34">
                  <c:v>50.634125</c:v>
                </c:pt>
                <c:pt idx="35">
                  <c:v>50.1071666666666</c:v>
                </c:pt>
                <c:pt idx="36">
                  <c:v>43.7679999999999</c:v>
                </c:pt>
                <c:pt idx="37">
                  <c:v>72.0318333333333</c:v>
                </c:pt>
                <c:pt idx="38">
                  <c:v>44.5263333333333</c:v>
                </c:pt>
                <c:pt idx="39">
                  <c:v>65.8818333333333</c:v>
                </c:pt>
                <c:pt idx="40">
                  <c:v>47.2516666666666</c:v>
                </c:pt>
                <c:pt idx="41">
                  <c:v>63.3381666666666</c:v>
                </c:pt>
                <c:pt idx="42">
                  <c:v>49.39425</c:v>
                </c:pt>
                <c:pt idx="43">
                  <c:v>77.9152499999999</c:v>
                </c:pt>
                <c:pt idx="44">
                  <c:v>48.65125</c:v>
                </c:pt>
                <c:pt idx="45">
                  <c:v>59.6629166666666</c:v>
                </c:pt>
                <c:pt idx="46">
                  <c:v>44.107909090909</c:v>
                </c:pt>
                <c:pt idx="47">
                  <c:v>45.83875</c:v>
                </c:pt>
                <c:pt idx="48">
                  <c:v>51.1445833333333</c:v>
                </c:pt>
                <c:pt idx="49">
                  <c:v>73.9905</c:v>
                </c:pt>
                <c:pt idx="50">
                  <c:v>49.5535833333333</c:v>
                </c:pt>
                <c:pt idx="51">
                  <c:v>69.31841666666659</c:v>
                </c:pt>
                <c:pt idx="52">
                  <c:v>59.5356666666666</c:v>
                </c:pt>
                <c:pt idx="53">
                  <c:v>87.515</c:v>
                </c:pt>
                <c:pt idx="54">
                  <c:v>47.82025</c:v>
                </c:pt>
                <c:pt idx="55">
                  <c:v>70.2178333333333</c:v>
                </c:pt>
                <c:pt idx="56">
                  <c:v>63.7313333333333</c:v>
                </c:pt>
                <c:pt idx="57">
                  <c:v>81.9909166666666</c:v>
                </c:pt>
                <c:pt idx="58">
                  <c:v>60.9058333333333</c:v>
                </c:pt>
                <c:pt idx="59">
                  <c:v>73.40933333333329</c:v>
                </c:pt>
                <c:pt idx="60">
                  <c:v>48.4906666666666</c:v>
                </c:pt>
                <c:pt idx="61">
                  <c:v>92.9889999999999</c:v>
                </c:pt>
                <c:pt idx="62">
                  <c:v>56.50075</c:v>
                </c:pt>
                <c:pt idx="63">
                  <c:v>66.6379166666666</c:v>
                </c:pt>
                <c:pt idx="64">
                  <c:v>41.8456666666666</c:v>
                </c:pt>
                <c:pt idx="65">
                  <c:v>86.52533333333329</c:v>
                </c:pt>
                <c:pt idx="66">
                  <c:v>58.5831666666666</c:v>
                </c:pt>
                <c:pt idx="67">
                  <c:v>60.7729166666666</c:v>
                </c:pt>
                <c:pt idx="68">
                  <c:v>42.9464285714285</c:v>
                </c:pt>
                <c:pt idx="69">
                  <c:v>55.4691666666666</c:v>
                </c:pt>
                <c:pt idx="70">
                  <c:v>48.9171428571428</c:v>
                </c:pt>
                <c:pt idx="71">
                  <c:v>45.3404166666666</c:v>
                </c:pt>
                <c:pt idx="72">
                  <c:v>39.4445833333333</c:v>
                </c:pt>
                <c:pt idx="73">
                  <c:v>43.4825</c:v>
                </c:pt>
                <c:pt idx="74">
                  <c:v>42.50875</c:v>
                </c:pt>
                <c:pt idx="75">
                  <c:v>53.6637499999999</c:v>
                </c:pt>
                <c:pt idx="76">
                  <c:v>66.76125</c:v>
                </c:pt>
                <c:pt idx="77">
                  <c:v>61.3454166666666</c:v>
                </c:pt>
                <c:pt idx="78">
                  <c:v>67.13875</c:v>
                </c:pt>
                <c:pt idx="79">
                  <c:v>76.0045833333333</c:v>
                </c:pt>
                <c:pt idx="80">
                  <c:v>43.4158333333333</c:v>
                </c:pt>
                <c:pt idx="81">
                  <c:v>49.0375</c:v>
                </c:pt>
                <c:pt idx="82">
                  <c:v>37.9716666666666</c:v>
                </c:pt>
                <c:pt idx="83">
                  <c:v>50.85375</c:v>
                </c:pt>
                <c:pt idx="84">
                  <c:v>45.6304166666666</c:v>
                </c:pt>
                <c:pt idx="85">
                  <c:v>44.035</c:v>
                </c:pt>
                <c:pt idx="86">
                  <c:v>174.000916666666</c:v>
                </c:pt>
                <c:pt idx="87">
                  <c:v>187.01125</c:v>
                </c:pt>
                <c:pt idx="88">
                  <c:v>62.7718333333333</c:v>
                </c:pt>
                <c:pt idx="89">
                  <c:v>63.74125</c:v>
                </c:pt>
                <c:pt idx="90">
                  <c:v>53.0446666666666</c:v>
                </c:pt>
                <c:pt idx="91">
                  <c:v>68.5991666666666</c:v>
                </c:pt>
                <c:pt idx="92">
                  <c:v>49.8786666666666</c:v>
                </c:pt>
                <c:pt idx="93">
                  <c:v>83.3418333333333</c:v>
                </c:pt>
                <c:pt idx="94">
                  <c:v>48.2404166666666</c:v>
                </c:pt>
                <c:pt idx="95">
                  <c:v>40.6566666666666</c:v>
                </c:pt>
                <c:pt idx="96">
                  <c:v>34.2363</c:v>
                </c:pt>
                <c:pt idx="97">
                  <c:v>41.783</c:v>
                </c:pt>
                <c:pt idx="98">
                  <c:v>38.522625</c:v>
                </c:pt>
                <c:pt idx="99">
                  <c:v>66.54175</c:v>
                </c:pt>
                <c:pt idx="100">
                  <c:v>46.5254166666666</c:v>
                </c:pt>
                <c:pt idx="101">
                  <c:v>153.26475</c:v>
                </c:pt>
                <c:pt idx="102">
                  <c:v>58.4922499999999</c:v>
                </c:pt>
                <c:pt idx="103">
                  <c:v>102.680583333333</c:v>
                </c:pt>
                <c:pt idx="104">
                  <c:v>60.4286666666666</c:v>
                </c:pt>
                <c:pt idx="105">
                  <c:v>44.07575</c:v>
                </c:pt>
                <c:pt idx="106">
                  <c:v>41.51825</c:v>
                </c:pt>
                <c:pt idx="107">
                  <c:v>53.703</c:v>
                </c:pt>
                <c:pt idx="108">
                  <c:v>48.4851666666666</c:v>
                </c:pt>
                <c:pt idx="109">
                  <c:v>51.2385</c:v>
                </c:pt>
                <c:pt idx="110">
                  <c:v>45.216</c:v>
                </c:pt>
                <c:pt idx="111">
                  <c:v>80.2231666666666</c:v>
                </c:pt>
                <c:pt idx="112">
                  <c:v>59.2688333333333</c:v>
                </c:pt>
                <c:pt idx="113">
                  <c:v>122.024166666666</c:v>
                </c:pt>
                <c:pt idx="114">
                  <c:v>52.3751666666666</c:v>
                </c:pt>
                <c:pt idx="115">
                  <c:v>86.0031666666666</c:v>
                </c:pt>
                <c:pt idx="116">
                  <c:v>46.1484166666666</c:v>
                </c:pt>
                <c:pt idx="117">
                  <c:v>80.90525</c:v>
                </c:pt>
                <c:pt idx="118">
                  <c:v>69.3946666666666</c:v>
                </c:pt>
                <c:pt idx="119">
                  <c:v>52.2005</c:v>
                </c:pt>
                <c:pt idx="120">
                  <c:v>51.4696666666666</c:v>
                </c:pt>
                <c:pt idx="121">
                  <c:v>80.4570833333333</c:v>
                </c:pt>
                <c:pt idx="122">
                  <c:v>63.776</c:v>
                </c:pt>
                <c:pt idx="123">
                  <c:v>79.9641666666666</c:v>
                </c:pt>
                <c:pt idx="124">
                  <c:v>48.1491666666666</c:v>
                </c:pt>
                <c:pt idx="125">
                  <c:v>72.47625</c:v>
                </c:pt>
                <c:pt idx="126">
                  <c:v>50.1383333333333</c:v>
                </c:pt>
                <c:pt idx="127">
                  <c:v>43.4670833333333</c:v>
                </c:pt>
                <c:pt idx="128">
                  <c:v>35.8283333333333</c:v>
                </c:pt>
                <c:pt idx="129">
                  <c:v>44.2408333333333</c:v>
                </c:pt>
                <c:pt idx="130">
                  <c:v>48.47625</c:v>
                </c:pt>
                <c:pt idx="131">
                  <c:v>64.3920833333333</c:v>
                </c:pt>
                <c:pt idx="132">
                  <c:v>57.5066666666666</c:v>
                </c:pt>
                <c:pt idx="133">
                  <c:v>60.60125</c:v>
                </c:pt>
                <c:pt idx="134">
                  <c:v>59.6954166666666</c:v>
                </c:pt>
                <c:pt idx="135">
                  <c:v>63.4149999999999</c:v>
                </c:pt>
                <c:pt idx="136">
                  <c:v>40.5864285714285</c:v>
                </c:pt>
                <c:pt idx="137">
                  <c:v>51.2125</c:v>
                </c:pt>
                <c:pt idx="138">
                  <c:v>32.0704545454545</c:v>
                </c:pt>
                <c:pt idx="139">
                  <c:v>57.2349999999999</c:v>
                </c:pt>
                <c:pt idx="140">
                  <c:v>40.7399999999999</c:v>
                </c:pt>
                <c:pt idx="141">
                  <c:v>46.8758333333333</c:v>
                </c:pt>
                <c:pt idx="142">
                  <c:v>35.6323636363636</c:v>
                </c:pt>
                <c:pt idx="143">
                  <c:v>49.2004166666666</c:v>
                </c:pt>
                <c:pt idx="144">
                  <c:v>50.58075</c:v>
                </c:pt>
                <c:pt idx="145">
                  <c:v>47.9710909090909</c:v>
                </c:pt>
                <c:pt idx="146">
                  <c:v>56.9445</c:v>
                </c:pt>
                <c:pt idx="147">
                  <c:v>55.5179166666666</c:v>
                </c:pt>
                <c:pt idx="148">
                  <c:v>42.7791428571428</c:v>
                </c:pt>
                <c:pt idx="149">
                  <c:v>50.0963333333333</c:v>
                </c:pt>
                <c:pt idx="150">
                  <c:v>56.7529999999999</c:v>
                </c:pt>
                <c:pt idx="151">
                  <c:v>62.2336666666666</c:v>
                </c:pt>
                <c:pt idx="152">
                  <c:v>58.3765833333333</c:v>
                </c:pt>
                <c:pt idx="153">
                  <c:v>76.4461666666666</c:v>
                </c:pt>
                <c:pt idx="154">
                  <c:v>59.41725</c:v>
                </c:pt>
                <c:pt idx="155">
                  <c:v>77.6890833333333</c:v>
                </c:pt>
                <c:pt idx="156">
                  <c:v>60.7068333333333</c:v>
                </c:pt>
                <c:pt idx="157">
                  <c:v>54.0755</c:v>
                </c:pt>
                <c:pt idx="158">
                  <c:v>58.0740909090909</c:v>
                </c:pt>
                <c:pt idx="159">
                  <c:v>58.9476666666666</c:v>
                </c:pt>
                <c:pt idx="160">
                  <c:v>50.5504444444444</c:v>
                </c:pt>
                <c:pt idx="161">
                  <c:v>54.70925</c:v>
                </c:pt>
                <c:pt idx="162">
                  <c:v>44.05525</c:v>
                </c:pt>
                <c:pt idx="163">
                  <c:v>52.3754</c:v>
                </c:pt>
                <c:pt idx="164">
                  <c:v>56.051</c:v>
                </c:pt>
                <c:pt idx="165">
                  <c:v>49.2473636363636</c:v>
                </c:pt>
                <c:pt idx="166">
                  <c:v>51.720125</c:v>
                </c:pt>
                <c:pt idx="167">
                  <c:v>58.3611666666666</c:v>
                </c:pt>
                <c:pt idx="168">
                  <c:v>39.4937142857142</c:v>
                </c:pt>
                <c:pt idx="169">
                  <c:v>49.29875</c:v>
                </c:pt>
                <c:pt idx="170">
                  <c:v>56.9209166666666</c:v>
                </c:pt>
                <c:pt idx="171">
                  <c:v>47.4555</c:v>
                </c:pt>
                <c:pt idx="172">
                  <c:v>35.9698888888888</c:v>
                </c:pt>
                <c:pt idx="173">
                  <c:v>42.9447777777777</c:v>
                </c:pt>
                <c:pt idx="174">
                  <c:v>36.92225</c:v>
                </c:pt>
                <c:pt idx="175">
                  <c:v>36.5463333333333</c:v>
                </c:pt>
                <c:pt idx="176">
                  <c:v>37.1244</c:v>
                </c:pt>
                <c:pt idx="177">
                  <c:v>42.9416666666666</c:v>
                </c:pt>
                <c:pt idx="178">
                  <c:v>31.9459999999999</c:v>
                </c:pt>
                <c:pt idx="179">
                  <c:v>50.9333333333333</c:v>
                </c:pt>
                <c:pt idx="180">
                  <c:v>53.7143</c:v>
                </c:pt>
                <c:pt idx="181">
                  <c:v>50.4933333333333</c:v>
                </c:pt>
                <c:pt idx="182">
                  <c:v>63.0670833333333</c:v>
                </c:pt>
                <c:pt idx="183">
                  <c:v>78.3205833333333</c:v>
                </c:pt>
                <c:pt idx="184">
                  <c:v>62.1805833333333</c:v>
                </c:pt>
                <c:pt idx="185">
                  <c:v>60.06025</c:v>
                </c:pt>
                <c:pt idx="186">
                  <c:v>45.0175</c:v>
                </c:pt>
                <c:pt idx="187">
                  <c:v>79.7666666666666</c:v>
                </c:pt>
                <c:pt idx="188">
                  <c:v>40.5616666666666</c:v>
                </c:pt>
                <c:pt idx="189">
                  <c:v>47.8218181818181</c:v>
                </c:pt>
                <c:pt idx="190">
                  <c:v>43.1745833333333</c:v>
                </c:pt>
                <c:pt idx="191">
                  <c:v>54.1766666666666</c:v>
                </c:pt>
                <c:pt idx="192">
                  <c:v>49.4054166666666</c:v>
                </c:pt>
                <c:pt idx="193">
                  <c:v>73.72958333333329</c:v>
                </c:pt>
                <c:pt idx="194">
                  <c:v>44.0149999999999</c:v>
                </c:pt>
                <c:pt idx="195">
                  <c:v>51.4095833333333</c:v>
                </c:pt>
                <c:pt idx="196">
                  <c:v>47.1545833333333</c:v>
                </c:pt>
                <c:pt idx="197">
                  <c:v>65.5254166666666</c:v>
                </c:pt>
                <c:pt idx="198">
                  <c:v>61.5183333333333</c:v>
                </c:pt>
                <c:pt idx="199">
                  <c:v>79.88375000000001</c:v>
                </c:pt>
                <c:pt idx="200">
                  <c:v>53.2337499999999</c:v>
                </c:pt>
                <c:pt idx="201">
                  <c:v>88.895</c:v>
                </c:pt>
                <c:pt idx="202">
                  <c:v>28.6485</c:v>
                </c:pt>
                <c:pt idx="203">
                  <c:v>44.7929166666666</c:v>
                </c:pt>
                <c:pt idx="204">
                  <c:v>47.22625</c:v>
                </c:pt>
                <c:pt idx="205">
                  <c:v>49.3720833333333</c:v>
                </c:pt>
                <c:pt idx="206">
                  <c:v>51.4916666666666</c:v>
                </c:pt>
                <c:pt idx="207">
                  <c:v>53.55</c:v>
                </c:pt>
                <c:pt idx="208">
                  <c:v>52.5641666666666</c:v>
                </c:pt>
                <c:pt idx="209">
                  <c:v>56.3049999999999</c:v>
                </c:pt>
                <c:pt idx="210">
                  <c:v>50.9929166666666</c:v>
                </c:pt>
                <c:pt idx="211">
                  <c:v>54.9929166666666</c:v>
                </c:pt>
                <c:pt idx="212">
                  <c:v>50.9091666666666</c:v>
                </c:pt>
                <c:pt idx="213">
                  <c:v>50.2333333333333</c:v>
                </c:pt>
                <c:pt idx="214">
                  <c:v>45.06</c:v>
                </c:pt>
                <c:pt idx="215">
                  <c:v>48.6995833333333</c:v>
                </c:pt>
                <c:pt idx="216">
                  <c:v>48.7583333333333</c:v>
                </c:pt>
                <c:pt idx="217">
                  <c:v>48.1683333333333</c:v>
                </c:pt>
                <c:pt idx="218">
                  <c:v>50.2616666666666</c:v>
                </c:pt>
                <c:pt idx="219">
                  <c:v>47.7983333333333</c:v>
                </c:pt>
                <c:pt idx="220">
                  <c:v>49.2441666666666</c:v>
                </c:pt>
                <c:pt idx="221">
                  <c:v>50.7345833333333</c:v>
                </c:pt>
                <c:pt idx="222">
                  <c:v>53.69</c:v>
                </c:pt>
                <c:pt idx="223">
                  <c:v>53.2716666666666</c:v>
                </c:pt>
                <c:pt idx="224">
                  <c:v>49.4508333333333</c:v>
                </c:pt>
                <c:pt idx="225">
                  <c:v>52.0591666666666</c:v>
                </c:pt>
                <c:pt idx="226">
                  <c:v>37.89</c:v>
                </c:pt>
                <c:pt idx="227">
                  <c:v>45.8166666666666</c:v>
                </c:pt>
                <c:pt idx="228">
                  <c:v>36.7570833333333</c:v>
                </c:pt>
                <c:pt idx="229">
                  <c:v>44.2145833333333</c:v>
                </c:pt>
                <c:pt idx="230">
                  <c:v>49.3845833333333</c:v>
                </c:pt>
                <c:pt idx="231">
                  <c:v>48.0804166666666</c:v>
                </c:pt>
                <c:pt idx="232">
                  <c:v>52.4695833333333</c:v>
                </c:pt>
                <c:pt idx="233">
                  <c:v>53.4029166666666</c:v>
                </c:pt>
                <c:pt idx="234">
                  <c:v>39.44625</c:v>
                </c:pt>
                <c:pt idx="235">
                  <c:v>47.9633333333333</c:v>
                </c:pt>
                <c:pt idx="236">
                  <c:v>42.5022222222222</c:v>
                </c:pt>
                <c:pt idx="237">
                  <c:v>44.9416666666666</c:v>
                </c:pt>
                <c:pt idx="238">
                  <c:v>45.2042857142857</c:v>
                </c:pt>
                <c:pt idx="239">
                  <c:v>48.3220833333333</c:v>
                </c:pt>
                <c:pt idx="240">
                  <c:v>44.1816666666666</c:v>
                </c:pt>
                <c:pt idx="241">
                  <c:v>79.2887272727272</c:v>
                </c:pt>
                <c:pt idx="242">
                  <c:v>51.94125</c:v>
                </c:pt>
                <c:pt idx="243">
                  <c:v>49.0996666666666</c:v>
                </c:pt>
                <c:pt idx="244">
                  <c:v>66.7433333333333</c:v>
                </c:pt>
                <c:pt idx="245">
                  <c:v>59.95325</c:v>
                </c:pt>
                <c:pt idx="246">
                  <c:v>48.0525</c:v>
                </c:pt>
                <c:pt idx="247">
                  <c:v>43.4133333333333</c:v>
                </c:pt>
                <c:pt idx="248">
                  <c:v>41.1374999999999</c:v>
                </c:pt>
                <c:pt idx="249">
                  <c:v>54.3541666666666</c:v>
                </c:pt>
                <c:pt idx="250">
                  <c:v>50.5133333333333</c:v>
                </c:pt>
                <c:pt idx="251">
                  <c:v>59.3216666666666</c:v>
                </c:pt>
                <c:pt idx="252">
                  <c:v>70.6241666666666</c:v>
                </c:pt>
                <c:pt idx="253">
                  <c:v>75.6508333333333</c:v>
                </c:pt>
                <c:pt idx="254">
                  <c:v>48.5474999999999</c:v>
                </c:pt>
                <c:pt idx="255">
                  <c:v>45.3508333333333</c:v>
                </c:pt>
                <c:pt idx="256">
                  <c:v>47.2908333333333</c:v>
                </c:pt>
                <c:pt idx="257">
                  <c:v>60.9354166666666</c:v>
                </c:pt>
                <c:pt idx="258">
                  <c:v>60.8879166666666</c:v>
                </c:pt>
                <c:pt idx="259">
                  <c:v>73.6945833333333</c:v>
                </c:pt>
                <c:pt idx="260">
                  <c:v>57.9958333333333</c:v>
                </c:pt>
                <c:pt idx="261">
                  <c:v>49.68125</c:v>
                </c:pt>
                <c:pt idx="262">
                  <c:v>28.8027777777777</c:v>
                </c:pt>
                <c:pt idx="263">
                  <c:v>57.8879166666666</c:v>
                </c:pt>
                <c:pt idx="264">
                  <c:v>34.658125</c:v>
                </c:pt>
                <c:pt idx="265">
                  <c:v>42.6458333333333</c:v>
                </c:pt>
                <c:pt idx="266">
                  <c:v>38.7508333333333</c:v>
                </c:pt>
                <c:pt idx="267">
                  <c:v>44.8320833333333</c:v>
                </c:pt>
                <c:pt idx="268">
                  <c:v>37.4038888888888</c:v>
                </c:pt>
                <c:pt idx="269">
                  <c:v>46.27625</c:v>
                </c:pt>
                <c:pt idx="270">
                  <c:v>37.74875</c:v>
                </c:pt>
                <c:pt idx="271">
                  <c:v>46.2620833333333</c:v>
                </c:pt>
                <c:pt idx="272">
                  <c:v>39.8790909090909</c:v>
                </c:pt>
                <c:pt idx="273">
                  <c:v>47.3729166666666</c:v>
                </c:pt>
                <c:pt idx="274">
                  <c:v>40.5581818181818</c:v>
                </c:pt>
                <c:pt idx="275">
                  <c:v>53.5504166666666</c:v>
                </c:pt>
                <c:pt idx="276">
                  <c:v>47.15375</c:v>
                </c:pt>
                <c:pt idx="277">
                  <c:v>54.6083333333333</c:v>
                </c:pt>
                <c:pt idx="278">
                  <c:v>50.1270833333333</c:v>
                </c:pt>
                <c:pt idx="279">
                  <c:v>49.5308333333333</c:v>
                </c:pt>
                <c:pt idx="280">
                  <c:v>38.4625</c:v>
                </c:pt>
                <c:pt idx="281">
                  <c:v>47.2754166666666</c:v>
                </c:pt>
                <c:pt idx="282">
                  <c:v>45.8325</c:v>
                </c:pt>
                <c:pt idx="283">
                  <c:v>50.7429166666666</c:v>
                </c:pt>
                <c:pt idx="284">
                  <c:v>46.2624999999999</c:v>
                </c:pt>
                <c:pt idx="285">
                  <c:v>49.195</c:v>
                </c:pt>
                <c:pt idx="286">
                  <c:v>37.2570833333333</c:v>
                </c:pt>
                <c:pt idx="287">
                  <c:v>43.0333333333333</c:v>
                </c:pt>
                <c:pt idx="288">
                  <c:v>39.8964285714285</c:v>
                </c:pt>
                <c:pt idx="289">
                  <c:v>53.0875</c:v>
                </c:pt>
                <c:pt idx="290">
                  <c:v>44.0025</c:v>
                </c:pt>
                <c:pt idx="291">
                  <c:v>50.5866666666666</c:v>
                </c:pt>
                <c:pt idx="292">
                  <c:v>46.0270833333333</c:v>
                </c:pt>
                <c:pt idx="293">
                  <c:v>51.3929166666666</c:v>
                </c:pt>
                <c:pt idx="294">
                  <c:v>46.5908333333333</c:v>
                </c:pt>
                <c:pt idx="295">
                  <c:v>54.30375</c:v>
                </c:pt>
                <c:pt idx="296">
                  <c:v>45.06875</c:v>
                </c:pt>
                <c:pt idx="297">
                  <c:v>42.70625</c:v>
                </c:pt>
                <c:pt idx="298">
                  <c:v>35.2055555555555</c:v>
                </c:pt>
                <c:pt idx="299">
                  <c:v>49.2208333333333</c:v>
                </c:pt>
                <c:pt idx="300">
                  <c:v>42.534375</c:v>
                </c:pt>
                <c:pt idx="301">
                  <c:v>49.4140909090909</c:v>
                </c:pt>
                <c:pt idx="302">
                  <c:v>53.5806999999999</c:v>
                </c:pt>
                <c:pt idx="303">
                  <c:v>84.9220833333333</c:v>
                </c:pt>
                <c:pt idx="304">
                  <c:v>39.3469999999999</c:v>
                </c:pt>
                <c:pt idx="305">
                  <c:v>43.3159166666666</c:v>
                </c:pt>
                <c:pt idx="306">
                  <c:v>47.9022222222222</c:v>
                </c:pt>
                <c:pt idx="307">
                  <c:v>54.9801666666666</c:v>
                </c:pt>
                <c:pt idx="308">
                  <c:v>35.0899999999999</c:v>
                </c:pt>
                <c:pt idx="309">
                  <c:v>41.2283333333333</c:v>
                </c:pt>
                <c:pt idx="310">
                  <c:v>48.4129166666666</c:v>
                </c:pt>
                <c:pt idx="311">
                  <c:v>49.2199999999999</c:v>
                </c:pt>
                <c:pt idx="312">
                  <c:v>51.0470833333333</c:v>
                </c:pt>
                <c:pt idx="313">
                  <c:v>53.3279166666666</c:v>
                </c:pt>
                <c:pt idx="314">
                  <c:v>46.8425</c:v>
                </c:pt>
                <c:pt idx="315">
                  <c:v>56.6724999999999</c:v>
                </c:pt>
                <c:pt idx="316">
                  <c:v>42.86</c:v>
                </c:pt>
                <c:pt idx="317">
                  <c:v>53.1808333333333</c:v>
                </c:pt>
                <c:pt idx="318">
                  <c:v>40.8270833333333</c:v>
                </c:pt>
                <c:pt idx="319">
                  <c:v>51.91625</c:v>
                </c:pt>
                <c:pt idx="320">
                  <c:v>58.3075</c:v>
                </c:pt>
                <c:pt idx="321">
                  <c:v>79.13374999999991</c:v>
                </c:pt>
                <c:pt idx="322">
                  <c:v>52.4974999999999</c:v>
                </c:pt>
                <c:pt idx="323">
                  <c:v>47.9629166666666</c:v>
                </c:pt>
                <c:pt idx="324">
                  <c:v>62.5412499999999</c:v>
                </c:pt>
                <c:pt idx="325">
                  <c:v>79.1875</c:v>
                </c:pt>
                <c:pt idx="326">
                  <c:v>38.7470833333333</c:v>
                </c:pt>
                <c:pt idx="327">
                  <c:v>49.4170833333333</c:v>
                </c:pt>
                <c:pt idx="328">
                  <c:v>41.0108333333333</c:v>
                </c:pt>
                <c:pt idx="329">
                  <c:v>48.9662499999999</c:v>
                </c:pt>
                <c:pt idx="330">
                  <c:v>46.8566666666666</c:v>
                </c:pt>
                <c:pt idx="331">
                  <c:v>60.0674999999999</c:v>
                </c:pt>
                <c:pt idx="332">
                  <c:v>46.4858333333333</c:v>
                </c:pt>
                <c:pt idx="333">
                  <c:v>63.3799999999999</c:v>
                </c:pt>
                <c:pt idx="334">
                  <c:v>56.7758333333333</c:v>
                </c:pt>
                <c:pt idx="335">
                  <c:v>71.7616666666666</c:v>
                </c:pt>
                <c:pt idx="336">
                  <c:v>57.2154166666666</c:v>
                </c:pt>
                <c:pt idx="337">
                  <c:v>72.0716666666666</c:v>
                </c:pt>
                <c:pt idx="338">
                  <c:v>55.7891666666666</c:v>
                </c:pt>
                <c:pt idx="339">
                  <c:v>57.0787499999999</c:v>
                </c:pt>
                <c:pt idx="340">
                  <c:v>52.03875</c:v>
                </c:pt>
                <c:pt idx="341">
                  <c:v>57.935</c:v>
                </c:pt>
                <c:pt idx="342">
                  <c:v>38.5311111111111</c:v>
                </c:pt>
                <c:pt idx="343">
                  <c:v>51.3004166666666</c:v>
                </c:pt>
                <c:pt idx="344">
                  <c:v>35.748125</c:v>
                </c:pt>
                <c:pt idx="345">
                  <c:v>43.7841666666666</c:v>
                </c:pt>
                <c:pt idx="346">
                  <c:v>32.951</c:v>
                </c:pt>
                <c:pt idx="347">
                  <c:v>45.6595833333333</c:v>
                </c:pt>
                <c:pt idx="348">
                  <c:v>42.175909090909</c:v>
                </c:pt>
                <c:pt idx="349">
                  <c:v>45.81875</c:v>
                </c:pt>
                <c:pt idx="350">
                  <c:v>45.18125</c:v>
                </c:pt>
                <c:pt idx="351">
                  <c:v>59.6508333333333</c:v>
                </c:pt>
                <c:pt idx="352">
                  <c:v>53.0899999999999</c:v>
                </c:pt>
                <c:pt idx="353">
                  <c:v>59.6241666666666</c:v>
                </c:pt>
                <c:pt idx="354">
                  <c:v>52.5408333333333</c:v>
                </c:pt>
                <c:pt idx="355">
                  <c:v>52.7066666666666</c:v>
                </c:pt>
                <c:pt idx="356">
                  <c:v>50.46625</c:v>
                </c:pt>
                <c:pt idx="357">
                  <c:v>57.7133333333333</c:v>
                </c:pt>
                <c:pt idx="358">
                  <c:v>33.4791666666666</c:v>
                </c:pt>
                <c:pt idx="359">
                  <c:v>48.625</c:v>
                </c:pt>
                <c:pt idx="360">
                  <c:v>34.729375</c:v>
                </c:pt>
                <c:pt idx="361">
                  <c:v>54.0312499999999</c:v>
                </c:pt>
                <c:pt idx="362">
                  <c:v>80.35550000000001</c:v>
                </c:pt>
                <c:pt idx="363">
                  <c:v>197.626916666666</c:v>
                </c:pt>
                <c:pt idx="364">
                  <c:v>38.4015</c:v>
                </c:pt>
                <c:pt idx="365">
                  <c:v>43.8649166666666</c:v>
                </c:pt>
                <c:pt idx="366">
                  <c:v>44.8295</c:v>
                </c:pt>
                <c:pt idx="367">
                  <c:v>61.38075</c:v>
                </c:pt>
                <c:pt idx="368">
                  <c:v>26.1074999999999</c:v>
                </c:pt>
                <c:pt idx="369">
                  <c:v>45.7833333333333</c:v>
                </c:pt>
                <c:pt idx="370">
                  <c:v>51.35375</c:v>
                </c:pt>
                <c:pt idx="371">
                  <c:v>42.387</c:v>
                </c:pt>
                <c:pt idx="372">
                  <c:v>52.655</c:v>
                </c:pt>
                <c:pt idx="373">
                  <c:v>53.0366666666666</c:v>
                </c:pt>
                <c:pt idx="374">
                  <c:v>36.6645833333333</c:v>
                </c:pt>
                <c:pt idx="375">
                  <c:v>70.0175</c:v>
                </c:pt>
                <c:pt idx="376">
                  <c:v>45.7370833333333</c:v>
                </c:pt>
                <c:pt idx="377">
                  <c:v>47.9529166666666</c:v>
                </c:pt>
                <c:pt idx="378">
                  <c:v>48.6433333333333</c:v>
                </c:pt>
                <c:pt idx="379">
                  <c:v>53.9433333333333</c:v>
                </c:pt>
                <c:pt idx="380">
                  <c:v>78.1541666666666</c:v>
                </c:pt>
                <c:pt idx="381">
                  <c:v>72.4779166666666</c:v>
                </c:pt>
                <c:pt idx="382">
                  <c:v>43.2433333333333</c:v>
                </c:pt>
                <c:pt idx="383">
                  <c:v>67.4620833333333</c:v>
                </c:pt>
                <c:pt idx="384">
                  <c:v>50.9333333333333</c:v>
                </c:pt>
                <c:pt idx="385">
                  <c:v>50.8608333333333</c:v>
                </c:pt>
                <c:pt idx="386">
                  <c:v>46.8145833333333</c:v>
                </c:pt>
                <c:pt idx="387">
                  <c:v>65.9670833333333</c:v>
                </c:pt>
                <c:pt idx="388">
                  <c:v>52.4625</c:v>
                </c:pt>
                <c:pt idx="389">
                  <c:v>67.15375</c:v>
                </c:pt>
                <c:pt idx="390">
                  <c:v>57.93625</c:v>
                </c:pt>
                <c:pt idx="391">
                  <c:v>59.9316666666666</c:v>
                </c:pt>
                <c:pt idx="392">
                  <c:v>60.7225</c:v>
                </c:pt>
                <c:pt idx="393">
                  <c:v>59.85625</c:v>
                </c:pt>
                <c:pt idx="394">
                  <c:v>51.8199999999999</c:v>
                </c:pt>
                <c:pt idx="395">
                  <c:v>76.1416666666666</c:v>
                </c:pt>
                <c:pt idx="396">
                  <c:v>66.975</c:v>
                </c:pt>
                <c:pt idx="397">
                  <c:v>82.1716666666666</c:v>
                </c:pt>
                <c:pt idx="398">
                  <c:v>50.0162499999999</c:v>
                </c:pt>
                <c:pt idx="399">
                  <c:v>64.7133333333333</c:v>
                </c:pt>
                <c:pt idx="400">
                  <c:v>44.0225</c:v>
                </c:pt>
                <c:pt idx="401">
                  <c:v>54.5445833333333</c:v>
                </c:pt>
                <c:pt idx="402">
                  <c:v>44.4191666666666</c:v>
                </c:pt>
                <c:pt idx="403">
                  <c:v>74.7116666666666</c:v>
                </c:pt>
                <c:pt idx="404">
                  <c:v>43.5283333333333</c:v>
                </c:pt>
                <c:pt idx="405">
                  <c:v>58.1995833333333</c:v>
                </c:pt>
                <c:pt idx="406">
                  <c:v>38.4038888888888</c:v>
                </c:pt>
                <c:pt idx="407">
                  <c:v>48.52875</c:v>
                </c:pt>
                <c:pt idx="408">
                  <c:v>45.4545833333333</c:v>
                </c:pt>
                <c:pt idx="409">
                  <c:v>65.0912499999999</c:v>
                </c:pt>
                <c:pt idx="410">
                  <c:v>53.25375</c:v>
                </c:pt>
                <c:pt idx="411">
                  <c:v>62.6349999999999</c:v>
                </c:pt>
                <c:pt idx="412">
                  <c:v>43.7979166666666</c:v>
                </c:pt>
                <c:pt idx="413">
                  <c:v>74.7904166666666</c:v>
                </c:pt>
                <c:pt idx="414">
                  <c:v>54.195</c:v>
                </c:pt>
                <c:pt idx="415">
                  <c:v>81.42874999999999</c:v>
                </c:pt>
                <c:pt idx="416">
                  <c:v>61.5916666666666</c:v>
                </c:pt>
                <c:pt idx="417">
                  <c:v>84.005</c:v>
                </c:pt>
                <c:pt idx="418">
                  <c:v>73.07125</c:v>
                </c:pt>
                <c:pt idx="419">
                  <c:v>89.2516666666666</c:v>
                </c:pt>
                <c:pt idx="420">
                  <c:v>70.0245833333333</c:v>
                </c:pt>
                <c:pt idx="421">
                  <c:v>72.64</c:v>
                </c:pt>
                <c:pt idx="422">
                  <c:v>63.7191666666666</c:v>
                </c:pt>
                <c:pt idx="423">
                  <c:v>76.6804166666666</c:v>
                </c:pt>
                <c:pt idx="424">
                  <c:v>97.3719999999999</c:v>
                </c:pt>
                <c:pt idx="425">
                  <c:v>87.4750833333333</c:v>
                </c:pt>
                <c:pt idx="426">
                  <c:v>42.4478888888888</c:v>
                </c:pt>
                <c:pt idx="427">
                  <c:v>54.3791666666666</c:v>
                </c:pt>
                <c:pt idx="428">
                  <c:v>47.2263333333333</c:v>
                </c:pt>
                <c:pt idx="429">
                  <c:v>65.7411666666666</c:v>
                </c:pt>
                <c:pt idx="430">
                  <c:v>43.6204166666666</c:v>
                </c:pt>
                <c:pt idx="431">
                  <c:v>75.9479166666666</c:v>
                </c:pt>
                <c:pt idx="432">
                  <c:v>45.175</c:v>
                </c:pt>
                <c:pt idx="433">
                  <c:v>49.1033333333333</c:v>
                </c:pt>
                <c:pt idx="434">
                  <c:v>48.37875</c:v>
                </c:pt>
                <c:pt idx="435">
                  <c:v>49.6458333333333</c:v>
                </c:pt>
                <c:pt idx="436">
                  <c:v>52.8779166666666</c:v>
                </c:pt>
                <c:pt idx="437">
                  <c:v>98.38625</c:v>
                </c:pt>
                <c:pt idx="438">
                  <c:v>59.5904166666666</c:v>
                </c:pt>
                <c:pt idx="439">
                  <c:v>72.0966666666666</c:v>
                </c:pt>
                <c:pt idx="440">
                  <c:v>47.9270833333333</c:v>
                </c:pt>
                <c:pt idx="441">
                  <c:v>57.2433333333333</c:v>
                </c:pt>
                <c:pt idx="442">
                  <c:v>63.7583333333333</c:v>
                </c:pt>
                <c:pt idx="443">
                  <c:v>69.53083333333331</c:v>
                </c:pt>
                <c:pt idx="444">
                  <c:v>55.00875</c:v>
                </c:pt>
                <c:pt idx="445">
                  <c:v>67.9595833333333</c:v>
                </c:pt>
                <c:pt idx="446">
                  <c:v>58.4549999999999</c:v>
                </c:pt>
                <c:pt idx="447">
                  <c:v>59.5133333333333</c:v>
                </c:pt>
                <c:pt idx="448">
                  <c:v>62.10625</c:v>
                </c:pt>
                <c:pt idx="449">
                  <c:v>75.08374999999999</c:v>
                </c:pt>
                <c:pt idx="450">
                  <c:v>72.0675</c:v>
                </c:pt>
                <c:pt idx="451">
                  <c:v>69.1670833333333</c:v>
                </c:pt>
                <c:pt idx="452">
                  <c:v>47.7720833333333</c:v>
                </c:pt>
                <c:pt idx="453">
                  <c:v>57.9862499999999</c:v>
                </c:pt>
                <c:pt idx="454">
                  <c:v>53.97125</c:v>
                </c:pt>
                <c:pt idx="455">
                  <c:v>66.1008333333333</c:v>
                </c:pt>
                <c:pt idx="456">
                  <c:v>48.20625</c:v>
                </c:pt>
                <c:pt idx="457">
                  <c:v>63.6575</c:v>
                </c:pt>
                <c:pt idx="458">
                  <c:v>46.99</c:v>
                </c:pt>
                <c:pt idx="459">
                  <c:v>61.3383333333333</c:v>
                </c:pt>
                <c:pt idx="460">
                  <c:v>40.4195833333333</c:v>
                </c:pt>
                <c:pt idx="461">
                  <c:v>54.9216666666666</c:v>
                </c:pt>
                <c:pt idx="462">
                  <c:v>55.7437499999999</c:v>
                </c:pt>
                <c:pt idx="463">
                  <c:v>64.7841666666666</c:v>
                </c:pt>
                <c:pt idx="464">
                  <c:v>39.4079166666666</c:v>
                </c:pt>
                <c:pt idx="465">
                  <c:v>45.2983333333333</c:v>
                </c:pt>
                <c:pt idx="466">
                  <c:v>42.2027272727272</c:v>
                </c:pt>
                <c:pt idx="467">
                  <c:v>56.2558333333333</c:v>
                </c:pt>
                <c:pt idx="468">
                  <c:v>44.3475</c:v>
                </c:pt>
                <c:pt idx="469">
                  <c:v>60.9570833333333</c:v>
                </c:pt>
                <c:pt idx="470">
                  <c:v>46.7316666666666</c:v>
                </c:pt>
                <c:pt idx="471">
                  <c:v>56.8070833333333</c:v>
                </c:pt>
                <c:pt idx="472">
                  <c:v>41.4533333333333</c:v>
                </c:pt>
                <c:pt idx="473">
                  <c:v>56.3629166666666</c:v>
                </c:pt>
                <c:pt idx="474">
                  <c:v>44.2949999999999</c:v>
                </c:pt>
                <c:pt idx="475">
                  <c:v>56.6520833333333</c:v>
                </c:pt>
                <c:pt idx="476">
                  <c:v>54.3895833333333</c:v>
                </c:pt>
                <c:pt idx="477">
                  <c:v>79.1654166666666</c:v>
                </c:pt>
                <c:pt idx="478">
                  <c:v>54.53875</c:v>
                </c:pt>
                <c:pt idx="479">
                  <c:v>56.9908333333333</c:v>
                </c:pt>
                <c:pt idx="480">
                  <c:v>46.33375</c:v>
                </c:pt>
                <c:pt idx="481">
                  <c:v>59.1416666666666</c:v>
                </c:pt>
                <c:pt idx="482">
                  <c:v>39.8716666666666</c:v>
                </c:pt>
                <c:pt idx="483">
                  <c:v>42.4241666666666</c:v>
                </c:pt>
                <c:pt idx="484">
                  <c:v>31.8691666666666</c:v>
                </c:pt>
                <c:pt idx="485">
                  <c:v>51.9420833333333</c:v>
                </c:pt>
                <c:pt idx="486">
                  <c:v>71.97658333333329</c:v>
                </c:pt>
                <c:pt idx="487">
                  <c:v>55.5705</c:v>
                </c:pt>
                <c:pt idx="488">
                  <c:v>35.1788181818181</c:v>
                </c:pt>
                <c:pt idx="489">
                  <c:v>82.8085833333333</c:v>
                </c:pt>
                <c:pt idx="490">
                  <c:v>44.0227272727272</c:v>
                </c:pt>
                <c:pt idx="491">
                  <c:v>80.227</c:v>
                </c:pt>
                <c:pt idx="492">
                  <c:v>55.7558333333333</c:v>
                </c:pt>
                <c:pt idx="493">
                  <c:v>62.7508333333333</c:v>
                </c:pt>
                <c:pt idx="494">
                  <c:v>33.0433333333333</c:v>
                </c:pt>
                <c:pt idx="495">
                  <c:v>37.8445833333333</c:v>
                </c:pt>
                <c:pt idx="496">
                  <c:v>47.8799999999999</c:v>
                </c:pt>
                <c:pt idx="497">
                  <c:v>50.42</c:v>
                </c:pt>
                <c:pt idx="498">
                  <c:v>47.5070833333333</c:v>
                </c:pt>
                <c:pt idx="499">
                  <c:v>74.43333333333329</c:v>
                </c:pt>
                <c:pt idx="500">
                  <c:v>72.4670833333333</c:v>
                </c:pt>
                <c:pt idx="501">
                  <c:v>77.19625</c:v>
                </c:pt>
                <c:pt idx="502">
                  <c:v>52.41</c:v>
                </c:pt>
                <c:pt idx="503">
                  <c:v>73.8799999999999</c:v>
                </c:pt>
                <c:pt idx="504">
                  <c:v>62.4691666666666</c:v>
                </c:pt>
                <c:pt idx="505">
                  <c:v>70.3633333333333</c:v>
                </c:pt>
                <c:pt idx="506">
                  <c:v>48.3712499999999</c:v>
                </c:pt>
                <c:pt idx="507">
                  <c:v>88.02958333333331</c:v>
                </c:pt>
                <c:pt idx="508">
                  <c:v>51.3358333333333</c:v>
                </c:pt>
                <c:pt idx="509">
                  <c:v>65.3295833333333</c:v>
                </c:pt>
                <c:pt idx="510">
                  <c:v>53.7699999999999</c:v>
                </c:pt>
                <c:pt idx="511">
                  <c:v>63.9569999999999</c:v>
                </c:pt>
                <c:pt idx="512">
                  <c:v>51.33875</c:v>
                </c:pt>
                <c:pt idx="513">
                  <c:v>54.9345833333333</c:v>
                </c:pt>
                <c:pt idx="514">
                  <c:v>34.5225</c:v>
                </c:pt>
                <c:pt idx="515">
                  <c:v>54.93625</c:v>
                </c:pt>
                <c:pt idx="516">
                  <c:v>51.0729166666666</c:v>
                </c:pt>
                <c:pt idx="517">
                  <c:v>52.2945833333333</c:v>
                </c:pt>
                <c:pt idx="518">
                  <c:v>44.7266666666666</c:v>
                </c:pt>
                <c:pt idx="519">
                  <c:v>77.5175</c:v>
                </c:pt>
                <c:pt idx="520">
                  <c:v>49.5545833333333</c:v>
                </c:pt>
                <c:pt idx="521">
                  <c:v>52.4429166666666</c:v>
                </c:pt>
                <c:pt idx="522">
                  <c:v>49.8287499999999</c:v>
                </c:pt>
                <c:pt idx="523">
                  <c:v>67.5495833333333</c:v>
                </c:pt>
                <c:pt idx="524">
                  <c:v>48.2075</c:v>
                </c:pt>
                <c:pt idx="525">
                  <c:v>46.8087499999999</c:v>
                </c:pt>
                <c:pt idx="526">
                  <c:v>45.87375</c:v>
                </c:pt>
                <c:pt idx="527">
                  <c:v>47.7245833333333</c:v>
                </c:pt>
                <c:pt idx="528">
                  <c:v>28.8459999999999</c:v>
                </c:pt>
                <c:pt idx="529">
                  <c:v>60.2445833333333</c:v>
                </c:pt>
                <c:pt idx="530">
                  <c:v>36.31625</c:v>
                </c:pt>
                <c:pt idx="531">
                  <c:v>44.5374999999999</c:v>
                </c:pt>
                <c:pt idx="532">
                  <c:v>34.5533333333333</c:v>
                </c:pt>
                <c:pt idx="533">
                  <c:v>53.4024999999999</c:v>
                </c:pt>
                <c:pt idx="534">
                  <c:v>50.3558333333333</c:v>
                </c:pt>
                <c:pt idx="535">
                  <c:v>59.46375</c:v>
                </c:pt>
                <c:pt idx="536">
                  <c:v>50.2483333333333</c:v>
                </c:pt>
                <c:pt idx="537">
                  <c:v>52.9354166666666</c:v>
                </c:pt>
                <c:pt idx="538">
                  <c:v>61.7058333333333</c:v>
                </c:pt>
                <c:pt idx="539">
                  <c:v>63.6554166666666</c:v>
                </c:pt>
                <c:pt idx="540">
                  <c:v>55.8370833333333</c:v>
                </c:pt>
                <c:pt idx="541">
                  <c:v>51.7833333333333</c:v>
                </c:pt>
                <c:pt idx="542">
                  <c:v>51.995</c:v>
                </c:pt>
                <c:pt idx="543">
                  <c:v>60.6374999999999</c:v>
                </c:pt>
                <c:pt idx="544">
                  <c:v>44.73875</c:v>
                </c:pt>
                <c:pt idx="545">
                  <c:v>59.0162499999999</c:v>
                </c:pt>
                <c:pt idx="546">
                  <c:v>41.7096</c:v>
                </c:pt>
                <c:pt idx="547">
                  <c:v>56.2808333333333</c:v>
                </c:pt>
                <c:pt idx="548">
                  <c:v>35.24225</c:v>
                </c:pt>
                <c:pt idx="549">
                  <c:v>73.4006666666666</c:v>
                </c:pt>
                <c:pt idx="550">
                  <c:v>64.4280833333333</c:v>
                </c:pt>
                <c:pt idx="551">
                  <c:v>75.9522499999999</c:v>
                </c:pt>
                <c:pt idx="552">
                  <c:v>53.5320833333333</c:v>
                </c:pt>
                <c:pt idx="553">
                  <c:v>70.23333333333331</c:v>
                </c:pt>
                <c:pt idx="554">
                  <c:v>43.7925</c:v>
                </c:pt>
                <c:pt idx="555">
                  <c:v>43.9679166666666</c:v>
                </c:pt>
                <c:pt idx="556">
                  <c:v>51.145</c:v>
                </c:pt>
                <c:pt idx="557">
                  <c:v>44.2258333333333</c:v>
                </c:pt>
                <c:pt idx="558">
                  <c:v>62.5325</c:v>
                </c:pt>
                <c:pt idx="559">
                  <c:v>83.4608333333333</c:v>
                </c:pt>
                <c:pt idx="560">
                  <c:v>58.6229166666666</c:v>
                </c:pt>
                <c:pt idx="561">
                  <c:v>66.8308333333333</c:v>
                </c:pt>
                <c:pt idx="562">
                  <c:v>53.8358333333333</c:v>
                </c:pt>
                <c:pt idx="563">
                  <c:v>68.9475</c:v>
                </c:pt>
                <c:pt idx="564">
                  <c:v>60.9183333333333</c:v>
                </c:pt>
                <c:pt idx="565">
                  <c:v>65.825</c:v>
                </c:pt>
                <c:pt idx="566">
                  <c:v>45.2466666666666</c:v>
                </c:pt>
                <c:pt idx="567">
                  <c:v>93.7891666666666</c:v>
                </c:pt>
                <c:pt idx="568">
                  <c:v>45.9566666666666</c:v>
                </c:pt>
                <c:pt idx="569">
                  <c:v>71.9991666666666</c:v>
                </c:pt>
                <c:pt idx="570">
                  <c:v>37.19875</c:v>
                </c:pt>
                <c:pt idx="571">
                  <c:v>52.4466666666666</c:v>
                </c:pt>
                <c:pt idx="572">
                  <c:v>42.4991666666666</c:v>
                </c:pt>
                <c:pt idx="573">
                  <c:v>63.8075</c:v>
                </c:pt>
                <c:pt idx="574">
                  <c:v>54.5766666666666</c:v>
                </c:pt>
                <c:pt idx="575">
                  <c:v>55.9825</c:v>
                </c:pt>
                <c:pt idx="576">
                  <c:v>44.2991666666666</c:v>
                </c:pt>
                <c:pt idx="577">
                  <c:v>59.9891666666666</c:v>
                </c:pt>
                <c:pt idx="578">
                  <c:v>51.0329166666666</c:v>
                </c:pt>
                <c:pt idx="579">
                  <c:v>64.2191666666666</c:v>
                </c:pt>
                <c:pt idx="580">
                  <c:v>71.8358333333333</c:v>
                </c:pt>
                <c:pt idx="581">
                  <c:v>76.0375</c:v>
                </c:pt>
                <c:pt idx="582">
                  <c:v>53.73</c:v>
                </c:pt>
                <c:pt idx="583">
                  <c:v>76.7079166666666</c:v>
                </c:pt>
                <c:pt idx="584">
                  <c:v>49.93</c:v>
                </c:pt>
                <c:pt idx="585">
                  <c:v>56.1558333333333</c:v>
                </c:pt>
                <c:pt idx="586">
                  <c:v>49.8691666666666</c:v>
                </c:pt>
                <c:pt idx="587">
                  <c:v>57.0691666666666</c:v>
                </c:pt>
                <c:pt idx="588">
                  <c:v>42.99875</c:v>
                </c:pt>
                <c:pt idx="589">
                  <c:v>50.1279166666666</c:v>
                </c:pt>
                <c:pt idx="590">
                  <c:v>37.5587499999999</c:v>
                </c:pt>
                <c:pt idx="591">
                  <c:v>42.2962499999999</c:v>
                </c:pt>
                <c:pt idx="592">
                  <c:v>47.5333333333333</c:v>
                </c:pt>
                <c:pt idx="593">
                  <c:v>58.02375</c:v>
                </c:pt>
                <c:pt idx="594">
                  <c:v>57.10375</c:v>
                </c:pt>
                <c:pt idx="595">
                  <c:v>68.65208333333329</c:v>
                </c:pt>
                <c:pt idx="596">
                  <c:v>60.0491666666666</c:v>
                </c:pt>
                <c:pt idx="597">
                  <c:v>60.7708333333333</c:v>
                </c:pt>
                <c:pt idx="598">
                  <c:v>52.8570833333333</c:v>
                </c:pt>
                <c:pt idx="599">
                  <c:v>55.77875</c:v>
                </c:pt>
                <c:pt idx="600">
                  <c:v>45.5079166666666</c:v>
                </c:pt>
                <c:pt idx="601">
                  <c:v>57.3620833333333</c:v>
                </c:pt>
                <c:pt idx="602">
                  <c:v>65.62916666666661</c:v>
                </c:pt>
                <c:pt idx="603">
                  <c:v>67.6258333333333</c:v>
                </c:pt>
                <c:pt idx="604">
                  <c:v>51.22375</c:v>
                </c:pt>
                <c:pt idx="605">
                  <c:v>69.5866666666666</c:v>
                </c:pt>
                <c:pt idx="606">
                  <c:v>61.6116666666666</c:v>
                </c:pt>
                <c:pt idx="607">
                  <c:v>54.9283333333333</c:v>
                </c:pt>
                <c:pt idx="608">
                  <c:v>54.774375</c:v>
                </c:pt>
                <c:pt idx="609">
                  <c:v>57.5251666666666</c:v>
                </c:pt>
                <c:pt idx="610">
                  <c:v>55.5259166666666</c:v>
                </c:pt>
                <c:pt idx="611">
                  <c:v>93.17625</c:v>
                </c:pt>
                <c:pt idx="612">
                  <c:v>73.73925</c:v>
                </c:pt>
                <c:pt idx="613">
                  <c:v>67.3714166666666</c:v>
                </c:pt>
                <c:pt idx="614">
                  <c:v>54.0245833333333</c:v>
                </c:pt>
                <c:pt idx="615">
                  <c:v>56.475</c:v>
                </c:pt>
                <c:pt idx="616">
                  <c:v>50.3766666666666</c:v>
                </c:pt>
                <c:pt idx="617">
                  <c:v>41.9158333333333</c:v>
                </c:pt>
                <c:pt idx="618">
                  <c:v>42.0070833333333</c:v>
                </c:pt>
                <c:pt idx="619">
                  <c:v>48.2645833333333</c:v>
                </c:pt>
                <c:pt idx="620">
                  <c:v>57.5816666666666</c:v>
                </c:pt>
                <c:pt idx="621">
                  <c:v>81.2558333333333</c:v>
                </c:pt>
                <c:pt idx="622">
                  <c:v>50.5095833333333</c:v>
                </c:pt>
                <c:pt idx="623">
                  <c:v>61.9158333333333</c:v>
                </c:pt>
                <c:pt idx="624">
                  <c:v>44.4520833333333</c:v>
                </c:pt>
                <c:pt idx="625">
                  <c:v>66.2733333333333</c:v>
                </c:pt>
                <c:pt idx="626">
                  <c:v>56.90625</c:v>
                </c:pt>
                <c:pt idx="627">
                  <c:v>65.3175</c:v>
                </c:pt>
                <c:pt idx="628">
                  <c:v>63.1516666666666</c:v>
                </c:pt>
                <c:pt idx="629">
                  <c:v>78.0254166666666</c:v>
                </c:pt>
                <c:pt idx="630">
                  <c:v>50.1358333333333</c:v>
                </c:pt>
                <c:pt idx="631">
                  <c:v>74.4545833333333</c:v>
                </c:pt>
                <c:pt idx="632">
                  <c:v>47.6004166666666</c:v>
                </c:pt>
                <c:pt idx="633">
                  <c:v>54.03875</c:v>
                </c:pt>
                <c:pt idx="634">
                  <c:v>53.2404166666666</c:v>
                </c:pt>
                <c:pt idx="635">
                  <c:v>79.7545833333333</c:v>
                </c:pt>
                <c:pt idx="636">
                  <c:v>46.8712499999999</c:v>
                </c:pt>
                <c:pt idx="637">
                  <c:v>73.2675</c:v>
                </c:pt>
                <c:pt idx="638">
                  <c:v>49.975</c:v>
                </c:pt>
                <c:pt idx="639">
                  <c:v>77.7662499999999</c:v>
                </c:pt>
                <c:pt idx="640">
                  <c:v>56.20375</c:v>
                </c:pt>
                <c:pt idx="641">
                  <c:v>74.7445833333333</c:v>
                </c:pt>
                <c:pt idx="642">
                  <c:v>55.78375</c:v>
                </c:pt>
                <c:pt idx="643">
                  <c:v>48.4945833333333</c:v>
                </c:pt>
                <c:pt idx="644">
                  <c:v>33.2994444444444</c:v>
                </c:pt>
                <c:pt idx="645">
                  <c:v>40.535</c:v>
                </c:pt>
                <c:pt idx="646">
                  <c:v>33.345</c:v>
                </c:pt>
                <c:pt idx="647">
                  <c:v>44.9583333333333</c:v>
                </c:pt>
                <c:pt idx="648">
                  <c:v>38.8475</c:v>
                </c:pt>
                <c:pt idx="649">
                  <c:v>56.4879166666666</c:v>
                </c:pt>
                <c:pt idx="650">
                  <c:v>44.54875</c:v>
                </c:pt>
                <c:pt idx="651">
                  <c:v>54.9779166666666</c:v>
                </c:pt>
                <c:pt idx="652">
                  <c:v>36.4375</c:v>
                </c:pt>
                <c:pt idx="653">
                  <c:v>56.4187499999999</c:v>
                </c:pt>
                <c:pt idx="654">
                  <c:v>54.0883333333333</c:v>
                </c:pt>
                <c:pt idx="655">
                  <c:v>46.5124999999999</c:v>
                </c:pt>
                <c:pt idx="656">
                  <c:v>45.9966666666666</c:v>
                </c:pt>
                <c:pt idx="657">
                  <c:v>48.3140909090909</c:v>
                </c:pt>
                <c:pt idx="658">
                  <c:v>44.3228571428571</c:v>
                </c:pt>
                <c:pt idx="659">
                  <c:v>39.0049999999999</c:v>
                </c:pt>
                <c:pt idx="660">
                  <c:v>32.4338888888888</c:v>
                </c:pt>
                <c:pt idx="661">
                  <c:v>54.3170833333333</c:v>
                </c:pt>
                <c:pt idx="662">
                  <c:v>54.1154166666666</c:v>
                </c:pt>
                <c:pt idx="663">
                  <c:v>55.4416666666666</c:v>
                </c:pt>
                <c:pt idx="664">
                  <c:v>55.4337499999999</c:v>
                </c:pt>
                <c:pt idx="665">
                  <c:v>42.2208333333333</c:v>
                </c:pt>
                <c:pt idx="666">
                  <c:v>39.7412499999999</c:v>
                </c:pt>
                <c:pt idx="667">
                  <c:v>47.6275</c:v>
                </c:pt>
                <c:pt idx="668">
                  <c:v>51.69725</c:v>
                </c:pt>
                <c:pt idx="669">
                  <c:v>91.08674999999999</c:v>
                </c:pt>
                <c:pt idx="670">
                  <c:v>108.491333333333</c:v>
                </c:pt>
                <c:pt idx="671">
                  <c:v>103.1505</c:v>
                </c:pt>
                <c:pt idx="672">
                  <c:v>44.5545</c:v>
                </c:pt>
                <c:pt idx="673">
                  <c:v>56.4591666666666</c:v>
                </c:pt>
                <c:pt idx="674">
                  <c:v>45.98625</c:v>
                </c:pt>
                <c:pt idx="675">
                  <c:v>45.4258333333333</c:v>
                </c:pt>
                <c:pt idx="676">
                  <c:v>39.857</c:v>
                </c:pt>
                <c:pt idx="677">
                  <c:v>42.8686363636363</c:v>
                </c:pt>
                <c:pt idx="678">
                  <c:v>37.8484999999999</c:v>
                </c:pt>
                <c:pt idx="679">
                  <c:v>47.80625</c:v>
                </c:pt>
                <c:pt idx="680">
                  <c:v>60.9220833333333</c:v>
                </c:pt>
                <c:pt idx="681">
                  <c:v>62.5266666666666</c:v>
                </c:pt>
                <c:pt idx="682">
                  <c:v>80.0262499999999</c:v>
                </c:pt>
                <c:pt idx="683">
                  <c:v>93.38125</c:v>
                </c:pt>
                <c:pt idx="684">
                  <c:v>52.6329166666666</c:v>
                </c:pt>
                <c:pt idx="685">
                  <c:v>66.2979166666666</c:v>
                </c:pt>
                <c:pt idx="686">
                  <c:v>41.9358333333333</c:v>
                </c:pt>
                <c:pt idx="687">
                  <c:v>47.5566666666666</c:v>
                </c:pt>
                <c:pt idx="688">
                  <c:v>51.5362499999999</c:v>
                </c:pt>
                <c:pt idx="689">
                  <c:v>58.0066666666666</c:v>
                </c:pt>
                <c:pt idx="690">
                  <c:v>55.4245833333333</c:v>
                </c:pt>
                <c:pt idx="691">
                  <c:v>69.6895833333333</c:v>
                </c:pt>
                <c:pt idx="692">
                  <c:v>56.5733333333333</c:v>
                </c:pt>
                <c:pt idx="693">
                  <c:v>89.4145833333333</c:v>
                </c:pt>
                <c:pt idx="694">
                  <c:v>65.42541666666661</c:v>
                </c:pt>
                <c:pt idx="695">
                  <c:v>79.21833333333331</c:v>
                </c:pt>
                <c:pt idx="696">
                  <c:v>61.0904166666666</c:v>
                </c:pt>
                <c:pt idx="697">
                  <c:v>82.68458333333329</c:v>
                </c:pt>
                <c:pt idx="698">
                  <c:v>58.4845833333333</c:v>
                </c:pt>
                <c:pt idx="699">
                  <c:v>88.3529166666666</c:v>
                </c:pt>
                <c:pt idx="700">
                  <c:v>68.3441666666666</c:v>
                </c:pt>
                <c:pt idx="701">
                  <c:v>54.7549999999999</c:v>
                </c:pt>
                <c:pt idx="702">
                  <c:v>57.5662499999999</c:v>
                </c:pt>
                <c:pt idx="703">
                  <c:v>53.73375</c:v>
                </c:pt>
                <c:pt idx="704">
                  <c:v>59.6970833333333</c:v>
                </c:pt>
                <c:pt idx="705">
                  <c:v>51.7345833333333</c:v>
                </c:pt>
                <c:pt idx="706">
                  <c:v>38.4233333333333</c:v>
                </c:pt>
                <c:pt idx="707">
                  <c:v>44.9495833333333</c:v>
                </c:pt>
                <c:pt idx="708">
                  <c:v>44.59</c:v>
                </c:pt>
                <c:pt idx="709">
                  <c:v>48.775</c:v>
                </c:pt>
                <c:pt idx="710">
                  <c:v>46.7908333333333</c:v>
                </c:pt>
                <c:pt idx="711">
                  <c:v>56.9729166666666</c:v>
                </c:pt>
                <c:pt idx="712">
                  <c:v>46.9695833333333</c:v>
                </c:pt>
                <c:pt idx="713">
                  <c:v>48.4270833333333</c:v>
                </c:pt>
                <c:pt idx="714">
                  <c:v>42.3508333333333</c:v>
                </c:pt>
                <c:pt idx="715">
                  <c:v>40.6808333333333</c:v>
                </c:pt>
                <c:pt idx="716">
                  <c:v>37.1666666666666</c:v>
                </c:pt>
                <c:pt idx="717">
                  <c:v>38.9608333333333</c:v>
                </c:pt>
                <c:pt idx="718">
                  <c:v>40.2654166666666</c:v>
                </c:pt>
                <c:pt idx="719">
                  <c:v>42.8674999999999</c:v>
                </c:pt>
                <c:pt idx="720">
                  <c:v>49.3962499999999</c:v>
                </c:pt>
                <c:pt idx="721">
                  <c:v>41.4558333333333</c:v>
                </c:pt>
                <c:pt idx="722">
                  <c:v>33.3677272727272</c:v>
                </c:pt>
                <c:pt idx="723">
                  <c:v>43.60125</c:v>
                </c:pt>
                <c:pt idx="724">
                  <c:v>45.1020833333333</c:v>
                </c:pt>
                <c:pt idx="725">
                  <c:v>48.5054166666666</c:v>
                </c:pt>
                <c:pt idx="726">
                  <c:v>40.7454166666666</c:v>
                </c:pt>
                <c:pt idx="727">
                  <c:v>52.2662499999999</c:v>
                </c:pt>
                <c:pt idx="728">
                  <c:v>44.8895833333333</c:v>
                </c:pt>
                <c:pt idx="729">
                  <c:v>42.4995833333333</c:v>
                </c:pt>
                <c:pt idx="730">
                  <c:v>108.187499999999</c:v>
                </c:pt>
                <c:pt idx="731">
                  <c:v>111.245</c:v>
                </c:pt>
                <c:pt idx="732">
                  <c:v>110.513333333333</c:v>
                </c:pt>
                <c:pt idx="733">
                  <c:v>109.415</c:v>
                </c:pt>
                <c:pt idx="734">
                  <c:v>109.898333333333</c:v>
                </c:pt>
                <c:pt idx="735">
                  <c:v>111.870833333333</c:v>
                </c:pt>
                <c:pt idx="736">
                  <c:v>108.641</c:v>
                </c:pt>
                <c:pt idx="737">
                  <c:v>112.475</c:v>
                </c:pt>
                <c:pt idx="738">
                  <c:v>111.093333333333</c:v>
                </c:pt>
                <c:pt idx="739">
                  <c:v>111.433636363636</c:v>
                </c:pt>
                <c:pt idx="740">
                  <c:v>110.707</c:v>
                </c:pt>
                <c:pt idx="741">
                  <c:v>108.410833333333</c:v>
                </c:pt>
                <c:pt idx="742">
                  <c:v>110.375833333333</c:v>
                </c:pt>
                <c:pt idx="743">
                  <c:v>110.207499999999</c:v>
                </c:pt>
                <c:pt idx="744">
                  <c:v>111.74</c:v>
                </c:pt>
                <c:pt idx="745">
                  <c:v>111.213333333333</c:v>
                </c:pt>
                <c:pt idx="746">
                  <c:v>108.968333333333</c:v>
                </c:pt>
                <c:pt idx="747">
                  <c:v>109.2625</c:v>
                </c:pt>
                <c:pt idx="748">
                  <c:v>110.199</c:v>
                </c:pt>
                <c:pt idx="749">
                  <c:v>111.273333333333</c:v>
                </c:pt>
                <c:pt idx="750">
                  <c:v>109.4875</c:v>
                </c:pt>
                <c:pt idx="751">
                  <c:v>110.505</c:v>
                </c:pt>
                <c:pt idx="752">
                  <c:v>109.098333333333</c:v>
                </c:pt>
                <c:pt idx="753">
                  <c:v>110.826666666666</c:v>
                </c:pt>
                <c:pt idx="754">
                  <c:v>111.049166666666</c:v>
                </c:pt>
                <c:pt idx="755">
                  <c:v>109.829166666666</c:v>
                </c:pt>
                <c:pt idx="756">
                  <c:v>110.7</c:v>
                </c:pt>
                <c:pt idx="757">
                  <c:v>109.087499999999</c:v>
                </c:pt>
                <c:pt idx="758">
                  <c:v>109.721666666666</c:v>
                </c:pt>
                <c:pt idx="759">
                  <c:v>111.226666666666</c:v>
                </c:pt>
                <c:pt idx="760">
                  <c:v>112.73</c:v>
                </c:pt>
                <c:pt idx="761">
                  <c:v>111.525</c:v>
                </c:pt>
                <c:pt idx="762">
                  <c:v>110.448333333333</c:v>
                </c:pt>
                <c:pt idx="763">
                  <c:v>109.194166666666</c:v>
                </c:pt>
                <c:pt idx="764">
                  <c:v>112.3375</c:v>
                </c:pt>
                <c:pt idx="765">
                  <c:v>109.475</c:v>
                </c:pt>
                <c:pt idx="766">
                  <c:v>109.988571428571</c:v>
                </c:pt>
                <c:pt idx="767">
                  <c:v>110.447499999999</c:v>
                </c:pt>
                <c:pt idx="768">
                  <c:v>109.126666666666</c:v>
                </c:pt>
                <c:pt idx="769">
                  <c:v>111.745833333333</c:v>
                </c:pt>
                <c:pt idx="770">
                  <c:v>110.930833333333</c:v>
                </c:pt>
                <c:pt idx="771">
                  <c:v>110.345833333333</c:v>
                </c:pt>
                <c:pt idx="772">
                  <c:v>110.689999999999</c:v>
                </c:pt>
                <c:pt idx="773">
                  <c:v>111.839166666666</c:v>
                </c:pt>
                <c:pt idx="774">
                  <c:v>111.340833333333</c:v>
                </c:pt>
                <c:pt idx="775">
                  <c:v>111.143333333333</c:v>
                </c:pt>
                <c:pt idx="776">
                  <c:v>110.728181818181</c:v>
                </c:pt>
                <c:pt idx="777">
                  <c:v>110.1</c:v>
                </c:pt>
                <c:pt idx="778">
                  <c:v>111.549166666666</c:v>
                </c:pt>
                <c:pt idx="779">
                  <c:v>110.77</c:v>
                </c:pt>
                <c:pt idx="780">
                  <c:v>109.4325</c:v>
                </c:pt>
                <c:pt idx="781">
                  <c:v>110.096666666666</c:v>
                </c:pt>
                <c:pt idx="782">
                  <c:v>110.041666666666</c:v>
                </c:pt>
                <c:pt idx="783">
                  <c:v>111.239166666666</c:v>
                </c:pt>
                <c:pt idx="784">
                  <c:v>110.66</c:v>
                </c:pt>
                <c:pt idx="785">
                  <c:v>110.686666666666</c:v>
                </c:pt>
                <c:pt idx="786">
                  <c:v>110.626666666666</c:v>
                </c:pt>
                <c:pt idx="787">
                  <c:v>111.218333333333</c:v>
                </c:pt>
                <c:pt idx="788">
                  <c:v>110.458333333333</c:v>
                </c:pt>
                <c:pt idx="789">
                  <c:v>109.5825</c:v>
                </c:pt>
                <c:pt idx="790">
                  <c:v>110.054166666666</c:v>
                </c:pt>
                <c:pt idx="791">
                  <c:v>110.781666666666</c:v>
                </c:pt>
                <c:pt idx="792">
                  <c:v>112.41</c:v>
                </c:pt>
                <c:pt idx="793">
                  <c:v>110.198333333333</c:v>
                </c:pt>
                <c:pt idx="794">
                  <c:v>110.217499999999</c:v>
                </c:pt>
                <c:pt idx="795">
                  <c:v>110.13</c:v>
                </c:pt>
                <c:pt idx="796">
                  <c:v>109.869999999999</c:v>
                </c:pt>
                <c:pt idx="797">
                  <c:v>110.466666666666</c:v>
                </c:pt>
                <c:pt idx="798">
                  <c:v>110.5425</c:v>
                </c:pt>
                <c:pt idx="799">
                  <c:v>110.200833333333</c:v>
                </c:pt>
                <c:pt idx="800">
                  <c:v>111.087499999999</c:v>
                </c:pt>
                <c:pt idx="801">
                  <c:v>111.925833333333</c:v>
                </c:pt>
                <c:pt idx="802">
                  <c:v>112.255</c:v>
                </c:pt>
                <c:pt idx="803">
                  <c:v>109.486666666666</c:v>
                </c:pt>
                <c:pt idx="804">
                  <c:v>109.698333333333</c:v>
                </c:pt>
                <c:pt idx="805">
                  <c:v>111.646666666666</c:v>
                </c:pt>
                <c:pt idx="806">
                  <c:v>111.567777777777</c:v>
                </c:pt>
                <c:pt idx="807">
                  <c:v>109.755833333333</c:v>
                </c:pt>
                <c:pt idx="808">
                  <c:v>109.170909090909</c:v>
                </c:pt>
                <c:pt idx="809">
                  <c:v>111.1325</c:v>
                </c:pt>
                <c:pt idx="810">
                  <c:v>109.654166666666</c:v>
                </c:pt>
                <c:pt idx="811">
                  <c:v>109.68</c:v>
                </c:pt>
                <c:pt idx="812">
                  <c:v>110.405833333333</c:v>
                </c:pt>
                <c:pt idx="813">
                  <c:v>112.8225</c:v>
                </c:pt>
                <c:pt idx="814">
                  <c:v>110.1425</c:v>
                </c:pt>
                <c:pt idx="815">
                  <c:v>109.690833333333</c:v>
                </c:pt>
                <c:pt idx="816">
                  <c:v>109.825833333333</c:v>
                </c:pt>
                <c:pt idx="817">
                  <c:v>111.9975</c:v>
                </c:pt>
                <c:pt idx="818">
                  <c:v>111.880833333333</c:v>
                </c:pt>
                <c:pt idx="819">
                  <c:v>112.263333333333</c:v>
                </c:pt>
                <c:pt idx="820">
                  <c:v>110.1575</c:v>
                </c:pt>
                <c:pt idx="821">
                  <c:v>111.238333333333</c:v>
                </c:pt>
                <c:pt idx="822">
                  <c:v>110.713333333333</c:v>
                </c:pt>
                <c:pt idx="823">
                  <c:v>109.839166666666</c:v>
                </c:pt>
                <c:pt idx="824">
                  <c:v>111.431666666666</c:v>
                </c:pt>
                <c:pt idx="825">
                  <c:v>111.125833333333</c:v>
                </c:pt>
                <c:pt idx="826">
                  <c:v>111.320999999999</c:v>
                </c:pt>
                <c:pt idx="827">
                  <c:v>111.665</c:v>
                </c:pt>
                <c:pt idx="828">
                  <c:v>111.086249999999</c:v>
                </c:pt>
                <c:pt idx="829">
                  <c:v>110.289166666666</c:v>
                </c:pt>
                <c:pt idx="830">
                  <c:v>111.447499999999</c:v>
                </c:pt>
                <c:pt idx="831">
                  <c:v>111.652499999999</c:v>
                </c:pt>
                <c:pt idx="832">
                  <c:v>110.511666666666</c:v>
                </c:pt>
                <c:pt idx="833">
                  <c:v>111.26</c:v>
                </c:pt>
                <c:pt idx="834">
                  <c:v>108.296666666666</c:v>
                </c:pt>
                <c:pt idx="835">
                  <c:v>110.400833333333</c:v>
                </c:pt>
                <c:pt idx="836">
                  <c:v>109.865</c:v>
                </c:pt>
                <c:pt idx="837">
                  <c:v>110.7425</c:v>
                </c:pt>
                <c:pt idx="838">
                  <c:v>110.730833333333</c:v>
                </c:pt>
                <c:pt idx="839">
                  <c:v>108.715833333333</c:v>
                </c:pt>
                <c:pt idx="840">
                  <c:v>109.4475</c:v>
                </c:pt>
                <c:pt idx="841">
                  <c:v>111.644999999999</c:v>
                </c:pt>
                <c:pt idx="842">
                  <c:v>111.014999999999</c:v>
                </c:pt>
                <c:pt idx="843">
                  <c:v>110.439166666666</c:v>
                </c:pt>
                <c:pt idx="844">
                  <c:v>109.7925</c:v>
                </c:pt>
                <c:pt idx="845">
                  <c:v>110.529166666666</c:v>
                </c:pt>
                <c:pt idx="846">
                  <c:v>110.634166666666</c:v>
                </c:pt>
                <c:pt idx="847">
                  <c:v>109.004166666666</c:v>
                </c:pt>
                <c:pt idx="848">
                  <c:v>110.425</c:v>
                </c:pt>
                <c:pt idx="849">
                  <c:v>110.660833333333</c:v>
                </c:pt>
                <c:pt idx="850">
                  <c:v>110.2175</c:v>
                </c:pt>
                <c:pt idx="851">
                  <c:v>109.5225</c:v>
                </c:pt>
                <c:pt idx="852">
                  <c:v>111.56</c:v>
                </c:pt>
                <c:pt idx="853">
                  <c:v>108.58</c:v>
                </c:pt>
                <c:pt idx="854">
                  <c:v>110.815833333333</c:v>
                </c:pt>
                <c:pt idx="855">
                  <c:v>110.408333333333</c:v>
                </c:pt>
                <c:pt idx="856">
                  <c:v>111.223333333333</c:v>
                </c:pt>
                <c:pt idx="857">
                  <c:v>109.500833333333</c:v>
                </c:pt>
                <c:pt idx="858">
                  <c:v>111.568888888888</c:v>
                </c:pt>
                <c:pt idx="859">
                  <c:v>109.425</c:v>
                </c:pt>
                <c:pt idx="860">
                  <c:v>110.594</c:v>
                </c:pt>
                <c:pt idx="861">
                  <c:v>111.001666666666</c:v>
                </c:pt>
                <c:pt idx="862">
                  <c:v>110.672222222222</c:v>
                </c:pt>
                <c:pt idx="863">
                  <c:v>110.750833333333</c:v>
                </c:pt>
                <c:pt idx="864">
                  <c:v>109.534545454545</c:v>
                </c:pt>
                <c:pt idx="865">
                  <c:v>111.825833333333</c:v>
                </c:pt>
                <c:pt idx="866">
                  <c:v>109.937499999999</c:v>
                </c:pt>
                <c:pt idx="867">
                  <c:v>110.033333333333</c:v>
                </c:pt>
                <c:pt idx="868">
                  <c:v>110.322499999999</c:v>
                </c:pt>
                <c:pt idx="869">
                  <c:v>112.010833333333</c:v>
                </c:pt>
                <c:pt idx="870">
                  <c:v>111.680833333333</c:v>
                </c:pt>
                <c:pt idx="871">
                  <c:v>110.705833333333</c:v>
                </c:pt>
                <c:pt idx="872">
                  <c:v>109.649999999999</c:v>
                </c:pt>
                <c:pt idx="873">
                  <c:v>110.38</c:v>
                </c:pt>
                <c:pt idx="874">
                  <c:v>112.0725</c:v>
                </c:pt>
                <c:pt idx="875">
                  <c:v>110.425454545454</c:v>
                </c:pt>
                <c:pt idx="876">
                  <c:v>107.849</c:v>
                </c:pt>
                <c:pt idx="877">
                  <c:v>109.603333333333</c:v>
                </c:pt>
                <c:pt idx="878">
                  <c:v>110.657142857142</c:v>
                </c:pt>
                <c:pt idx="879">
                  <c:v>110.185833333333</c:v>
                </c:pt>
                <c:pt idx="880">
                  <c:v>108.954999999999</c:v>
                </c:pt>
                <c:pt idx="881">
                  <c:v>111.346666666666</c:v>
                </c:pt>
                <c:pt idx="882">
                  <c:v>109.241666666666</c:v>
                </c:pt>
                <c:pt idx="883">
                  <c:v>110.784166666666</c:v>
                </c:pt>
                <c:pt idx="884">
                  <c:v>110.381666666666</c:v>
                </c:pt>
                <c:pt idx="885">
                  <c:v>110.847499999999</c:v>
                </c:pt>
                <c:pt idx="886">
                  <c:v>110.451666666666</c:v>
                </c:pt>
                <c:pt idx="887">
                  <c:v>110.620833333333</c:v>
                </c:pt>
                <c:pt idx="888">
                  <c:v>110.661818181818</c:v>
                </c:pt>
                <c:pt idx="889">
                  <c:v>109.991666666666</c:v>
                </c:pt>
                <c:pt idx="890">
                  <c:v>111.174444444444</c:v>
                </c:pt>
                <c:pt idx="891">
                  <c:v>111.3525</c:v>
                </c:pt>
                <c:pt idx="892">
                  <c:v>111.416249999999</c:v>
                </c:pt>
                <c:pt idx="893">
                  <c:v>112.174</c:v>
                </c:pt>
                <c:pt idx="894">
                  <c:v>109.81</c:v>
                </c:pt>
                <c:pt idx="895">
                  <c:v>108.751818181818</c:v>
                </c:pt>
                <c:pt idx="896">
                  <c:v>112.31875</c:v>
                </c:pt>
                <c:pt idx="897">
                  <c:v>110.475833333333</c:v>
                </c:pt>
                <c:pt idx="898">
                  <c:v>110.975714285714</c:v>
                </c:pt>
                <c:pt idx="899">
                  <c:v>109.715833333333</c:v>
                </c:pt>
                <c:pt idx="900">
                  <c:v>111.194166666666</c:v>
                </c:pt>
                <c:pt idx="901">
                  <c:v>111.438333333333</c:v>
                </c:pt>
                <c:pt idx="902">
                  <c:v>111.075555555555</c:v>
                </c:pt>
                <c:pt idx="903">
                  <c:v>111.923333333333</c:v>
                </c:pt>
                <c:pt idx="904">
                  <c:v>109.86</c:v>
                </c:pt>
                <c:pt idx="905">
                  <c:v>111.731111111111</c:v>
                </c:pt>
                <c:pt idx="906">
                  <c:v>109.65</c:v>
                </c:pt>
                <c:pt idx="907">
                  <c:v>109.644444444444</c:v>
                </c:pt>
                <c:pt idx="908">
                  <c:v>113.766666666666</c:v>
                </c:pt>
                <c:pt idx="909">
                  <c:v>109.075</c:v>
                </c:pt>
                <c:pt idx="910">
                  <c:v>94.1583333333333</c:v>
                </c:pt>
                <c:pt idx="911">
                  <c:v>95.01</c:v>
                </c:pt>
                <c:pt idx="912">
                  <c:v>97.0042857142857</c:v>
                </c:pt>
                <c:pt idx="913">
                  <c:v>91.095</c:v>
                </c:pt>
                <c:pt idx="914">
                  <c:v>93.65333333333329</c:v>
                </c:pt>
                <c:pt idx="915">
                  <c:v>93.1499999999999</c:v>
                </c:pt>
                <c:pt idx="916">
                  <c:v>91.3191666666666</c:v>
                </c:pt>
                <c:pt idx="917">
                  <c:v>92.2424999999999</c:v>
                </c:pt>
                <c:pt idx="918">
                  <c:v>94.6399999999999</c:v>
                </c:pt>
                <c:pt idx="919">
                  <c:v>93.1941666666666</c:v>
                </c:pt>
                <c:pt idx="920">
                  <c:v>93.35</c:v>
                </c:pt>
                <c:pt idx="921">
                  <c:v>90.4625</c:v>
                </c:pt>
                <c:pt idx="922">
                  <c:v>98.07</c:v>
                </c:pt>
                <c:pt idx="923">
                  <c:v>92.2858333333333</c:v>
                </c:pt>
                <c:pt idx="924">
                  <c:v>95.5274999999999</c:v>
                </c:pt>
                <c:pt idx="925">
                  <c:v>94.65333333333329</c:v>
                </c:pt>
                <c:pt idx="926">
                  <c:v>90.4866666666666</c:v>
                </c:pt>
                <c:pt idx="927">
                  <c:v>93.8391666666666</c:v>
                </c:pt>
                <c:pt idx="928">
                  <c:v>94.4691666666666</c:v>
                </c:pt>
                <c:pt idx="929">
                  <c:v>93.63249999999999</c:v>
                </c:pt>
                <c:pt idx="930">
                  <c:v>95.8958333333333</c:v>
                </c:pt>
                <c:pt idx="931">
                  <c:v>91.8391666666666</c:v>
                </c:pt>
                <c:pt idx="932">
                  <c:v>93.1374999999999</c:v>
                </c:pt>
                <c:pt idx="933">
                  <c:v>94.0925</c:v>
                </c:pt>
                <c:pt idx="934">
                  <c:v>92.8508333333333</c:v>
                </c:pt>
                <c:pt idx="935">
                  <c:v>95.7441666666666</c:v>
                </c:pt>
                <c:pt idx="936">
                  <c:v>92.7408333333333</c:v>
                </c:pt>
                <c:pt idx="937">
                  <c:v>90.0875</c:v>
                </c:pt>
                <c:pt idx="938">
                  <c:v>92.1524999999999</c:v>
                </c:pt>
                <c:pt idx="939">
                  <c:v>95.6875</c:v>
                </c:pt>
                <c:pt idx="940">
                  <c:v>91.1925</c:v>
                </c:pt>
                <c:pt idx="941">
                  <c:v>93.9166666666666</c:v>
                </c:pt>
                <c:pt idx="942">
                  <c:v>90.2541666666666</c:v>
                </c:pt>
                <c:pt idx="943">
                  <c:v>93.1008333333333</c:v>
                </c:pt>
                <c:pt idx="944">
                  <c:v>96.1633333333333</c:v>
                </c:pt>
                <c:pt idx="945">
                  <c:v>92.9725</c:v>
                </c:pt>
                <c:pt idx="946">
                  <c:v>88.9099999999999</c:v>
                </c:pt>
                <c:pt idx="947">
                  <c:v>93.1424999999999</c:v>
                </c:pt>
                <c:pt idx="948">
                  <c:v>93.2408333333333</c:v>
                </c:pt>
                <c:pt idx="949">
                  <c:v>91.87083333333329</c:v>
                </c:pt>
                <c:pt idx="950">
                  <c:v>92.87333333333331</c:v>
                </c:pt>
                <c:pt idx="951">
                  <c:v>88.7075</c:v>
                </c:pt>
                <c:pt idx="952">
                  <c:v>92.9283333333333</c:v>
                </c:pt>
                <c:pt idx="953">
                  <c:v>94.2166666666666</c:v>
                </c:pt>
                <c:pt idx="954">
                  <c:v>90.96833333333331</c:v>
                </c:pt>
                <c:pt idx="955">
                  <c:v>93.7708333333333</c:v>
                </c:pt>
                <c:pt idx="956">
                  <c:v>97.5008333333333</c:v>
                </c:pt>
                <c:pt idx="957">
                  <c:v>95.9941666666666</c:v>
                </c:pt>
                <c:pt idx="958">
                  <c:v>92.9541666666666</c:v>
                </c:pt>
                <c:pt idx="959">
                  <c:v>93.9225</c:v>
                </c:pt>
                <c:pt idx="960">
                  <c:v>94.0666666666666</c:v>
                </c:pt>
                <c:pt idx="961">
                  <c:v>91.63833333333331</c:v>
                </c:pt>
                <c:pt idx="962">
                  <c:v>92.29333333333329</c:v>
                </c:pt>
                <c:pt idx="963">
                  <c:v>90.27249999999999</c:v>
                </c:pt>
                <c:pt idx="964">
                  <c:v>96.4383333333333</c:v>
                </c:pt>
                <c:pt idx="965">
                  <c:v>93.6675</c:v>
                </c:pt>
                <c:pt idx="966">
                  <c:v>90.6622222222222</c:v>
                </c:pt>
                <c:pt idx="967">
                  <c:v>93.67666666666661</c:v>
                </c:pt>
                <c:pt idx="968">
                  <c:v>89.3971428571428</c:v>
                </c:pt>
                <c:pt idx="969">
                  <c:v>93.32583333333331</c:v>
                </c:pt>
                <c:pt idx="970">
                  <c:v>95.8975</c:v>
                </c:pt>
                <c:pt idx="971">
                  <c:v>91.9563636363636</c:v>
                </c:pt>
                <c:pt idx="972">
                  <c:v>92.4628571428571</c:v>
                </c:pt>
                <c:pt idx="973">
                  <c:v>95.3849999999999</c:v>
                </c:pt>
                <c:pt idx="974">
                  <c:v>90.8475</c:v>
                </c:pt>
                <c:pt idx="975">
                  <c:v>93.6633333333333</c:v>
                </c:pt>
                <c:pt idx="976">
                  <c:v>90.4866666666666</c:v>
                </c:pt>
                <c:pt idx="977">
                  <c:v>97.2063636363636</c:v>
                </c:pt>
                <c:pt idx="978">
                  <c:v>95.41833333333329</c:v>
                </c:pt>
                <c:pt idx="979">
                  <c:v>96.34333333333331</c:v>
                </c:pt>
                <c:pt idx="980">
                  <c:v>91.4966666666666</c:v>
                </c:pt>
                <c:pt idx="981">
                  <c:v>93.4458333333333</c:v>
                </c:pt>
                <c:pt idx="982">
                  <c:v>98.2749999999999</c:v>
                </c:pt>
                <c:pt idx="983">
                  <c:v>94.35599999999999</c:v>
                </c:pt>
                <c:pt idx="984">
                  <c:v>93.0085714285714</c:v>
                </c:pt>
                <c:pt idx="985">
                  <c:v>94.2666666666666</c:v>
                </c:pt>
                <c:pt idx="986">
                  <c:v>94.05833333333329</c:v>
                </c:pt>
                <c:pt idx="987">
                  <c:v>94.7066666666666</c:v>
                </c:pt>
                <c:pt idx="988">
                  <c:v>92.3049999999999</c:v>
                </c:pt>
                <c:pt idx="989">
                  <c:v>91.3066666666666</c:v>
                </c:pt>
                <c:pt idx="990">
                  <c:v>90.8958333333333</c:v>
                </c:pt>
                <c:pt idx="991">
                  <c:v>92.3483333333333</c:v>
                </c:pt>
                <c:pt idx="992">
                  <c:v>95.63</c:v>
                </c:pt>
                <c:pt idx="993">
                  <c:v>93.3981818181818</c:v>
                </c:pt>
                <c:pt idx="994">
                  <c:v>96.20375</c:v>
                </c:pt>
                <c:pt idx="995">
                  <c:v>94.4441666666666</c:v>
                </c:pt>
                <c:pt idx="996">
                  <c:v>92.0175</c:v>
                </c:pt>
                <c:pt idx="997">
                  <c:v>95.2124999999999</c:v>
                </c:pt>
                <c:pt idx="998">
                  <c:v>95.2622222222222</c:v>
                </c:pt>
                <c:pt idx="999">
                  <c:v>92.7383333333333</c:v>
                </c:pt>
                <c:pt idx="1000">
                  <c:v>96.78375</c:v>
                </c:pt>
                <c:pt idx="1001">
                  <c:v>94.0483333333333</c:v>
                </c:pt>
                <c:pt idx="1002">
                  <c:v>91.7272727272727</c:v>
                </c:pt>
                <c:pt idx="1003">
                  <c:v>92.79</c:v>
                </c:pt>
                <c:pt idx="1004">
                  <c:v>91.99</c:v>
                </c:pt>
                <c:pt idx="1005">
                  <c:v>90.05</c:v>
                </c:pt>
                <c:pt idx="1006">
                  <c:v>93.4916666666666</c:v>
                </c:pt>
                <c:pt idx="1007">
                  <c:v>90.9991666666666</c:v>
                </c:pt>
                <c:pt idx="1008">
                  <c:v>93.2666666666666</c:v>
                </c:pt>
                <c:pt idx="1009">
                  <c:v>91.9991666666666</c:v>
                </c:pt>
                <c:pt idx="1010">
                  <c:v>90.3075</c:v>
                </c:pt>
                <c:pt idx="1011">
                  <c:v>91.4241666666666</c:v>
                </c:pt>
                <c:pt idx="1012">
                  <c:v>92.9875</c:v>
                </c:pt>
                <c:pt idx="1013">
                  <c:v>96.7091666666666</c:v>
                </c:pt>
                <c:pt idx="1014">
                  <c:v>94.1525</c:v>
                </c:pt>
                <c:pt idx="1015">
                  <c:v>94.87333333333331</c:v>
                </c:pt>
                <c:pt idx="1016">
                  <c:v>95.1333333333333</c:v>
                </c:pt>
                <c:pt idx="1017">
                  <c:v>93.0208333333333</c:v>
                </c:pt>
                <c:pt idx="1018">
                  <c:v>96.2942857142857</c:v>
                </c:pt>
                <c:pt idx="1019">
                  <c:v>94.9225</c:v>
                </c:pt>
                <c:pt idx="1020">
                  <c:v>92.6425</c:v>
                </c:pt>
                <c:pt idx="1021">
                  <c:v>93.2983333333333</c:v>
                </c:pt>
                <c:pt idx="1022">
                  <c:v>90.0475</c:v>
                </c:pt>
                <c:pt idx="1023">
                  <c:v>93.3483333333333</c:v>
                </c:pt>
                <c:pt idx="1024">
                  <c:v>91.8725</c:v>
                </c:pt>
                <c:pt idx="1025">
                  <c:v>89.7658333333333</c:v>
                </c:pt>
                <c:pt idx="1026">
                  <c:v>93.4583333333333</c:v>
                </c:pt>
                <c:pt idx="1027">
                  <c:v>91.8058333333333</c:v>
                </c:pt>
                <c:pt idx="1028">
                  <c:v>94.9522222222222</c:v>
                </c:pt>
                <c:pt idx="1029">
                  <c:v>95.8941666666666</c:v>
                </c:pt>
                <c:pt idx="1030">
                  <c:v>90.925</c:v>
                </c:pt>
                <c:pt idx="1031">
                  <c:v>91.3272727272727</c:v>
                </c:pt>
                <c:pt idx="1032">
                  <c:v>89.5279999999999</c:v>
                </c:pt>
                <c:pt idx="1033">
                  <c:v>95.9924999999999</c:v>
                </c:pt>
                <c:pt idx="1034">
                  <c:v>95.7575</c:v>
                </c:pt>
                <c:pt idx="1035">
                  <c:v>88.09083333333329</c:v>
                </c:pt>
                <c:pt idx="1036">
                  <c:v>91.1188888888888</c:v>
                </c:pt>
                <c:pt idx="1037">
                  <c:v>88.7741666666666</c:v>
                </c:pt>
                <c:pt idx="1038">
                  <c:v>91.8933333333333</c:v>
                </c:pt>
                <c:pt idx="1039">
                  <c:v>91.9525</c:v>
                </c:pt>
                <c:pt idx="1040">
                  <c:v>94.505</c:v>
                </c:pt>
                <c:pt idx="1041">
                  <c:v>91.5149999999999</c:v>
                </c:pt>
                <c:pt idx="1042">
                  <c:v>92.745</c:v>
                </c:pt>
                <c:pt idx="1043">
                  <c:v>89.0924999999999</c:v>
                </c:pt>
                <c:pt idx="1044">
                  <c:v>98.2424999999999</c:v>
                </c:pt>
                <c:pt idx="1045">
                  <c:v>93.0108333333333</c:v>
                </c:pt>
                <c:pt idx="1046">
                  <c:v>92.3566666666666</c:v>
                </c:pt>
                <c:pt idx="1047">
                  <c:v>93.0783333333333</c:v>
                </c:pt>
                <c:pt idx="1048">
                  <c:v>92.9074999999999</c:v>
                </c:pt>
                <c:pt idx="1049">
                  <c:v>92.0749999999999</c:v>
                </c:pt>
                <c:pt idx="1050">
                  <c:v>90.5741666666666</c:v>
                </c:pt>
                <c:pt idx="1051">
                  <c:v>91.5666666666666</c:v>
                </c:pt>
                <c:pt idx="1052">
                  <c:v>90.6499999999999</c:v>
                </c:pt>
                <c:pt idx="1053">
                  <c:v>93.17999999999989</c:v>
                </c:pt>
                <c:pt idx="1054">
                  <c:v>92.729</c:v>
                </c:pt>
                <c:pt idx="1055">
                  <c:v>91.3466666666666</c:v>
                </c:pt>
                <c:pt idx="1056">
                  <c:v>97.3666666666666</c:v>
                </c:pt>
                <c:pt idx="1057">
                  <c:v>90.3758333333333</c:v>
                </c:pt>
                <c:pt idx="1058">
                  <c:v>87.475</c:v>
                </c:pt>
                <c:pt idx="1059">
                  <c:v>94.5899999999999</c:v>
                </c:pt>
                <c:pt idx="1060">
                  <c:v>92.35250000000001</c:v>
                </c:pt>
                <c:pt idx="1061">
                  <c:v>93.9191666666666</c:v>
                </c:pt>
                <c:pt idx="1062">
                  <c:v>92.7033333333333</c:v>
                </c:pt>
                <c:pt idx="1063">
                  <c:v>89.9275</c:v>
                </c:pt>
                <c:pt idx="1064">
                  <c:v>92.6549999999999</c:v>
                </c:pt>
                <c:pt idx="1065">
                  <c:v>93.8058333333333</c:v>
                </c:pt>
                <c:pt idx="1066">
                  <c:v>91.4025</c:v>
                </c:pt>
                <c:pt idx="1067">
                  <c:v>92.4966666666666</c:v>
                </c:pt>
                <c:pt idx="1068">
                  <c:v>90.9266666666666</c:v>
                </c:pt>
                <c:pt idx="1069">
                  <c:v>95.9133333333333</c:v>
                </c:pt>
                <c:pt idx="1070">
                  <c:v>92.82250000000001</c:v>
                </c:pt>
                <c:pt idx="1071">
                  <c:v>93.8058333333333</c:v>
                </c:pt>
                <c:pt idx="1072">
                  <c:v>96.0555555555555</c:v>
                </c:pt>
                <c:pt idx="1073">
                  <c:v>91.5766666666666</c:v>
                </c:pt>
                <c:pt idx="1074">
                  <c:v>90.30249999999999</c:v>
                </c:pt>
                <c:pt idx="1075">
                  <c:v>93.0091666666666</c:v>
                </c:pt>
                <c:pt idx="1076">
                  <c:v>95.102</c:v>
                </c:pt>
                <c:pt idx="1077">
                  <c:v>93.8316666666666</c:v>
                </c:pt>
                <c:pt idx="1078">
                  <c:v>92.270909090909</c:v>
                </c:pt>
                <c:pt idx="1079">
                  <c:v>95.8491666666666</c:v>
                </c:pt>
                <c:pt idx="1080">
                  <c:v>92.8949999999999</c:v>
                </c:pt>
                <c:pt idx="1081">
                  <c:v>97.4591666666666</c:v>
                </c:pt>
                <c:pt idx="1082">
                  <c:v>90.8983333333333</c:v>
                </c:pt>
                <c:pt idx="1083">
                  <c:v>92.4224999999999</c:v>
                </c:pt>
                <c:pt idx="1084">
                  <c:v>96.0475</c:v>
                </c:pt>
                <c:pt idx="1085">
                  <c:v>92.85833333333331</c:v>
                </c:pt>
                <c:pt idx="1086">
                  <c:v>96.7766666666666</c:v>
                </c:pt>
                <c:pt idx="1087">
                  <c:v>93.7825</c:v>
                </c:pt>
                <c:pt idx="1088">
                  <c:v>91.8458333333333</c:v>
                </c:pt>
                <c:pt idx="1089">
                  <c:v>94.4766666666666</c:v>
                </c:pt>
                <c:pt idx="1090">
                  <c:v>95.4299999999999</c:v>
                </c:pt>
                <c:pt idx="1091">
                  <c:v>92.9616666666666</c:v>
                </c:pt>
                <c:pt idx="1092">
                  <c:v>94.66125</c:v>
                </c:pt>
                <c:pt idx="1093">
                  <c:v>91.62916666666661</c:v>
                </c:pt>
                <c:pt idx="1094">
                  <c:v>93.8725</c:v>
                </c:pt>
                <c:pt idx="1095">
                  <c:v>94.7491666666666</c:v>
                </c:pt>
                <c:pt idx="1096">
                  <c:v>94.245</c:v>
                </c:pt>
                <c:pt idx="1097">
                  <c:v>90.465</c:v>
                </c:pt>
                <c:pt idx="1098">
                  <c:v>94.0516666666666</c:v>
                </c:pt>
                <c:pt idx="1099">
                  <c:v>94.5841666666666</c:v>
                </c:pt>
                <c:pt idx="1100">
                  <c:v>90.3633333333333</c:v>
                </c:pt>
                <c:pt idx="1101">
                  <c:v>94.0141666666666</c:v>
                </c:pt>
                <c:pt idx="1102">
                  <c:v>91.4175</c:v>
                </c:pt>
                <c:pt idx="1103">
                  <c:v>94.4533333333333</c:v>
                </c:pt>
                <c:pt idx="1104">
                  <c:v>94.17083333333331</c:v>
                </c:pt>
                <c:pt idx="1105">
                  <c:v>93.12</c:v>
                </c:pt>
                <c:pt idx="1106">
                  <c:v>96.3483333333333</c:v>
                </c:pt>
                <c:pt idx="1107">
                  <c:v>92.2325</c:v>
                </c:pt>
                <c:pt idx="1108">
                  <c:v>95.0158333333333</c:v>
                </c:pt>
                <c:pt idx="1109">
                  <c:v>93.6491666666666</c:v>
                </c:pt>
                <c:pt idx="1110">
                  <c:v>93.27833333333329</c:v>
                </c:pt>
                <c:pt idx="1111">
                  <c:v>92.9558333333333</c:v>
                </c:pt>
                <c:pt idx="1112">
                  <c:v>90.9241666666666</c:v>
                </c:pt>
                <c:pt idx="1113">
                  <c:v>92.7033333333333</c:v>
                </c:pt>
                <c:pt idx="1114">
                  <c:v>93.4016666666666</c:v>
                </c:pt>
                <c:pt idx="1115">
                  <c:v>90.6333333333333</c:v>
                </c:pt>
                <c:pt idx="1116">
                  <c:v>92.2666666666666</c:v>
                </c:pt>
                <c:pt idx="1117">
                  <c:v>91.1158333333333</c:v>
                </c:pt>
                <c:pt idx="1118">
                  <c:v>92.4158333333333</c:v>
                </c:pt>
                <c:pt idx="1119">
                  <c:v>94.9241666666666</c:v>
                </c:pt>
                <c:pt idx="1120">
                  <c:v>86.4416666666666</c:v>
                </c:pt>
                <c:pt idx="1121">
                  <c:v>93.5858333333333</c:v>
                </c:pt>
                <c:pt idx="1122">
                  <c:v>91.0883333333333</c:v>
                </c:pt>
                <c:pt idx="1123">
                  <c:v>89.0258333333333</c:v>
                </c:pt>
                <c:pt idx="1124">
                  <c:v>92.5241666666666</c:v>
                </c:pt>
                <c:pt idx="1125">
                  <c:v>90.2191666666666</c:v>
                </c:pt>
                <c:pt idx="1126">
                  <c:v>93.8841666666666</c:v>
                </c:pt>
                <c:pt idx="1127">
                  <c:v>93.74583333333329</c:v>
                </c:pt>
                <c:pt idx="1128">
                  <c:v>95.7474999999999</c:v>
                </c:pt>
                <c:pt idx="1129">
                  <c:v>90.9741666666666</c:v>
                </c:pt>
                <c:pt idx="1130">
                  <c:v>94.1666666666666</c:v>
                </c:pt>
                <c:pt idx="1131">
                  <c:v>96.3841666666666</c:v>
                </c:pt>
                <c:pt idx="1132">
                  <c:v>94.8158333333333</c:v>
                </c:pt>
                <c:pt idx="1133">
                  <c:v>95.5475</c:v>
                </c:pt>
                <c:pt idx="1134">
                  <c:v>90.9749999999999</c:v>
                </c:pt>
                <c:pt idx="1135">
                  <c:v>92.1441666666666</c:v>
                </c:pt>
                <c:pt idx="1136">
                  <c:v>91.5044444444444</c:v>
                </c:pt>
                <c:pt idx="1137">
                  <c:v>94.92083333333331</c:v>
                </c:pt>
                <c:pt idx="1138">
                  <c:v>95.2141666666666</c:v>
                </c:pt>
                <c:pt idx="1139">
                  <c:v>94.0866666666666</c:v>
                </c:pt>
                <c:pt idx="1140">
                  <c:v>92.9099999999999</c:v>
                </c:pt>
                <c:pt idx="1141">
                  <c:v>92.4741666666666</c:v>
                </c:pt>
                <c:pt idx="1142">
                  <c:v>89.7575</c:v>
                </c:pt>
                <c:pt idx="1143">
                  <c:v>93.0774999999999</c:v>
                </c:pt>
                <c:pt idx="1144">
                  <c:v>90.88833333333331</c:v>
                </c:pt>
                <c:pt idx="1145">
                  <c:v>93.18000000000001</c:v>
                </c:pt>
                <c:pt idx="1146">
                  <c:v>92.5633333333333</c:v>
                </c:pt>
                <c:pt idx="1147">
                  <c:v>94.2608333333333</c:v>
                </c:pt>
                <c:pt idx="1148">
                  <c:v>88.2408333333333</c:v>
                </c:pt>
                <c:pt idx="1149">
                  <c:v>92.0316666666666</c:v>
                </c:pt>
                <c:pt idx="1150">
                  <c:v>92.8675</c:v>
                </c:pt>
                <c:pt idx="1151">
                  <c:v>91.5416666666666</c:v>
                </c:pt>
                <c:pt idx="1152">
                  <c:v>94.8541666666666</c:v>
                </c:pt>
                <c:pt idx="1153">
                  <c:v>90.8875</c:v>
                </c:pt>
                <c:pt idx="1154">
                  <c:v>92.57916666666659</c:v>
                </c:pt>
                <c:pt idx="1155">
                  <c:v>95.4225</c:v>
                </c:pt>
                <c:pt idx="1156">
                  <c:v>94.6408333333333</c:v>
                </c:pt>
                <c:pt idx="1157">
                  <c:v>94.0691666666666</c:v>
                </c:pt>
                <c:pt idx="1158">
                  <c:v>91.7883333333333</c:v>
                </c:pt>
                <c:pt idx="1159">
                  <c:v>88.1075</c:v>
                </c:pt>
                <c:pt idx="1160">
                  <c:v>92.0533333333333</c:v>
                </c:pt>
                <c:pt idx="1161">
                  <c:v>94.4275</c:v>
                </c:pt>
                <c:pt idx="1162">
                  <c:v>94.7858333333333</c:v>
                </c:pt>
                <c:pt idx="1163">
                  <c:v>92.865</c:v>
                </c:pt>
                <c:pt idx="1164">
                  <c:v>91.60583333333329</c:v>
                </c:pt>
                <c:pt idx="1165">
                  <c:v>94.4483333333333</c:v>
                </c:pt>
                <c:pt idx="1166">
                  <c:v>89.0949999999999</c:v>
                </c:pt>
                <c:pt idx="1167">
                  <c:v>95.37</c:v>
                </c:pt>
                <c:pt idx="1168">
                  <c:v>92.7591666666666</c:v>
                </c:pt>
                <c:pt idx="1169">
                  <c:v>96.8616666666666</c:v>
                </c:pt>
                <c:pt idx="1170">
                  <c:v>92.8933333333333</c:v>
                </c:pt>
                <c:pt idx="1171">
                  <c:v>91.62</c:v>
                </c:pt>
                <c:pt idx="1172">
                  <c:v>95.9883333333333</c:v>
                </c:pt>
                <c:pt idx="1173">
                  <c:v>94.5883333333333</c:v>
                </c:pt>
                <c:pt idx="1174">
                  <c:v>94.0316666666666</c:v>
                </c:pt>
                <c:pt idx="1175">
                  <c:v>93.4166666666666</c:v>
                </c:pt>
                <c:pt idx="1176">
                  <c:v>91.3158333333333</c:v>
                </c:pt>
                <c:pt idx="1177">
                  <c:v>93.2275</c:v>
                </c:pt>
                <c:pt idx="1178">
                  <c:v>95.255</c:v>
                </c:pt>
                <c:pt idx="1179">
                  <c:v>95.5775</c:v>
                </c:pt>
                <c:pt idx="1180">
                  <c:v>92.415</c:v>
                </c:pt>
                <c:pt idx="1181">
                  <c:v>95.4933333333333</c:v>
                </c:pt>
                <c:pt idx="1182">
                  <c:v>94.87916666666661</c:v>
                </c:pt>
                <c:pt idx="1183">
                  <c:v>91.33</c:v>
                </c:pt>
                <c:pt idx="1184">
                  <c:v>92.035</c:v>
                </c:pt>
                <c:pt idx="1185">
                  <c:v>93.3016666666666</c:v>
                </c:pt>
                <c:pt idx="1186">
                  <c:v>92.2516666666666</c:v>
                </c:pt>
                <c:pt idx="1187">
                  <c:v>93.82916666666659</c:v>
                </c:pt>
                <c:pt idx="1188">
                  <c:v>96.95083333333331</c:v>
                </c:pt>
                <c:pt idx="1189">
                  <c:v>89.1116666666666</c:v>
                </c:pt>
                <c:pt idx="1190">
                  <c:v>93.70083333333331</c:v>
                </c:pt>
                <c:pt idx="1191">
                  <c:v>91.8216666666666</c:v>
                </c:pt>
                <c:pt idx="1192">
                  <c:v>91.17666666666661</c:v>
                </c:pt>
                <c:pt idx="1193">
                  <c:v>93.9674999999999</c:v>
                </c:pt>
                <c:pt idx="1194">
                  <c:v>96.0166666666667</c:v>
                </c:pt>
                <c:pt idx="1195">
                  <c:v>93.3</c:v>
                </c:pt>
                <c:pt idx="1196">
                  <c:v>93.4872727272727</c:v>
                </c:pt>
                <c:pt idx="1197">
                  <c:v>92.5341666666666</c:v>
                </c:pt>
                <c:pt idx="1198">
                  <c:v>90.46833333333331</c:v>
                </c:pt>
                <c:pt idx="1199">
                  <c:v>94.8325</c:v>
                </c:pt>
                <c:pt idx="1200">
                  <c:v>95.145</c:v>
                </c:pt>
                <c:pt idx="1201">
                  <c:v>93.2675</c:v>
                </c:pt>
                <c:pt idx="1202">
                  <c:v>94.01333333333331</c:v>
                </c:pt>
                <c:pt idx="1203">
                  <c:v>95.63</c:v>
                </c:pt>
                <c:pt idx="1204">
                  <c:v>92.1958333333333</c:v>
                </c:pt>
                <c:pt idx="1205">
                  <c:v>91.5166666666666</c:v>
                </c:pt>
                <c:pt idx="1206">
                  <c:v>94.71833333333331</c:v>
                </c:pt>
                <c:pt idx="1207">
                  <c:v>93.7083333333333</c:v>
                </c:pt>
                <c:pt idx="1208">
                  <c:v>88.9275</c:v>
                </c:pt>
                <c:pt idx="1209">
                  <c:v>92.02833333333329</c:v>
                </c:pt>
                <c:pt idx="1210">
                  <c:v>93.1616666666666</c:v>
                </c:pt>
                <c:pt idx="1211">
                  <c:v>94.2766666666666</c:v>
                </c:pt>
                <c:pt idx="1212">
                  <c:v>89.2083333333333</c:v>
                </c:pt>
                <c:pt idx="1213">
                  <c:v>94.7433333333333</c:v>
                </c:pt>
                <c:pt idx="1214">
                  <c:v>89.8758333333333</c:v>
                </c:pt>
                <c:pt idx="1215">
                  <c:v>90.9066666666666</c:v>
                </c:pt>
                <c:pt idx="1216">
                  <c:v>94.0058333333333</c:v>
                </c:pt>
                <c:pt idx="1217">
                  <c:v>92.4141666666666</c:v>
                </c:pt>
                <c:pt idx="1218">
                  <c:v>92.8316666666666</c:v>
                </c:pt>
                <c:pt idx="1219">
                  <c:v>92.375</c:v>
                </c:pt>
                <c:pt idx="1220">
                  <c:v>89.3691666666666</c:v>
                </c:pt>
                <c:pt idx="1221">
                  <c:v>93.37083333333329</c:v>
                </c:pt>
                <c:pt idx="1222">
                  <c:v>91.3191666666666</c:v>
                </c:pt>
                <c:pt idx="1223">
                  <c:v>91.6333333333333</c:v>
                </c:pt>
                <c:pt idx="1224">
                  <c:v>93.6541666666666</c:v>
                </c:pt>
                <c:pt idx="1225">
                  <c:v>93.0949999999999</c:v>
                </c:pt>
                <c:pt idx="1226">
                  <c:v>93.77500000000001</c:v>
                </c:pt>
                <c:pt idx="1227">
                  <c:v>88.9525</c:v>
                </c:pt>
                <c:pt idx="1228">
                  <c:v>92.9941666666666</c:v>
                </c:pt>
                <c:pt idx="1229">
                  <c:v>97.9708333333333</c:v>
                </c:pt>
                <c:pt idx="1230">
                  <c:v>92.3633333333333</c:v>
                </c:pt>
                <c:pt idx="1231">
                  <c:v>93.6791666666666</c:v>
                </c:pt>
                <c:pt idx="1232">
                  <c:v>92.12083333333329</c:v>
                </c:pt>
                <c:pt idx="1233">
                  <c:v>95.30249999999999</c:v>
                </c:pt>
                <c:pt idx="1234">
                  <c:v>90.0416666666666</c:v>
                </c:pt>
                <c:pt idx="1235">
                  <c:v>92.9474999999999</c:v>
                </c:pt>
                <c:pt idx="1236">
                  <c:v>94.2275</c:v>
                </c:pt>
                <c:pt idx="1237">
                  <c:v>94.2416666666666</c:v>
                </c:pt>
                <c:pt idx="1238">
                  <c:v>91.0266666666666</c:v>
                </c:pt>
                <c:pt idx="1239">
                  <c:v>92.3283333333333</c:v>
                </c:pt>
                <c:pt idx="1240">
                  <c:v>97.0808333333333</c:v>
                </c:pt>
                <c:pt idx="1241">
                  <c:v>93.2599999999999</c:v>
                </c:pt>
                <c:pt idx="1242">
                  <c:v>92.43583333333331</c:v>
                </c:pt>
                <c:pt idx="1243">
                  <c:v>91.9766666666666</c:v>
                </c:pt>
                <c:pt idx="1244">
                  <c:v>92.0866666666666</c:v>
                </c:pt>
                <c:pt idx="1245">
                  <c:v>92.96833333333331</c:v>
                </c:pt>
                <c:pt idx="1246">
                  <c:v>96.5366666666666</c:v>
                </c:pt>
                <c:pt idx="1247">
                  <c:v>94.1716666666666</c:v>
                </c:pt>
                <c:pt idx="1248">
                  <c:v>94.4575</c:v>
                </c:pt>
                <c:pt idx="1249">
                  <c:v>93.3274999999999</c:v>
                </c:pt>
                <c:pt idx="1250">
                  <c:v>96.02249999999999</c:v>
                </c:pt>
                <c:pt idx="1251">
                  <c:v>94.17749999999999</c:v>
                </c:pt>
                <c:pt idx="1252">
                  <c:v>93.3125</c:v>
                </c:pt>
                <c:pt idx="1253">
                  <c:v>92.6275</c:v>
                </c:pt>
                <c:pt idx="1254">
                  <c:v>93.0241666666666</c:v>
                </c:pt>
                <c:pt idx="1255">
                  <c:v>92.0925</c:v>
                </c:pt>
                <c:pt idx="1256">
                  <c:v>92.26333333333331</c:v>
                </c:pt>
                <c:pt idx="1257">
                  <c:v>93.79333333333329</c:v>
                </c:pt>
                <c:pt idx="1258">
                  <c:v>92.3819999999999</c:v>
                </c:pt>
                <c:pt idx="1259">
                  <c:v>92.9075</c:v>
                </c:pt>
                <c:pt idx="1260">
                  <c:v>93.20625</c:v>
                </c:pt>
                <c:pt idx="1261">
                  <c:v>97.0124999999999</c:v>
                </c:pt>
                <c:pt idx="1262">
                  <c:v>89.1783333333333</c:v>
                </c:pt>
                <c:pt idx="1263">
                  <c:v>90.4191666666666</c:v>
                </c:pt>
                <c:pt idx="1264">
                  <c:v>95.5891666666666</c:v>
                </c:pt>
                <c:pt idx="1265">
                  <c:v>97.7966666666666</c:v>
                </c:pt>
                <c:pt idx="1266">
                  <c:v>93.2116666666666</c:v>
                </c:pt>
                <c:pt idx="1267">
                  <c:v>92.63</c:v>
                </c:pt>
                <c:pt idx="1268">
                  <c:v>93.12666666666659</c:v>
                </c:pt>
                <c:pt idx="1269">
                  <c:v>94.18249999999991</c:v>
                </c:pt>
                <c:pt idx="1270">
                  <c:v>92.8166666666666</c:v>
                </c:pt>
                <c:pt idx="1271">
                  <c:v>89.6491666666666</c:v>
                </c:pt>
                <c:pt idx="1272">
                  <c:v>89.695</c:v>
                </c:pt>
                <c:pt idx="1273">
                  <c:v>90.16500000000001</c:v>
                </c:pt>
                <c:pt idx="1274">
                  <c:v>92.225</c:v>
                </c:pt>
                <c:pt idx="1275">
                  <c:v>91.505</c:v>
                </c:pt>
                <c:pt idx="1276">
                  <c:v>95.18583333333331</c:v>
                </c:pt>
                <c:pt idx="1277">
                  <c:v>92.6341666666666</c:v>
                </c:pt>
                <c:pt idx="1278">
                  <c:v>91.8541666666666</c:v>
                </c:pt>
                <c:pt idx="1279">
                  <c:v>88.7341666666666</c:v>
                </c:pt>
                <c:pt idx="1280">
                  <c:v>97.85428571428569</c:v>
                </c:pt>
                <c:pt idx="1281">
                  <c:v>90.2666666666666</c:v>
                </c:pt>
                <c:pt idx="1282">
                  <c:v>93.3166666666666</c:v>
                </c:pt>
                <c:pt idx="1283">
                  <c:v>91.0591666666666</c:v>
                </c:pt>
                <c:pt idx="1284">
                  <c:v>96.3808333333333</c:v>
                </c:pt>
                <c:pt idx="1285">
                  <c:v>94.4458333333333</c:v>
                </c:pt>
                <c:pt idx="1286">
                  <c:v>89.9916666666666</c:v>
                </c:pt>
                <c:pt idx="1287">
                  <c:v>93.04333333333329</c:v>
                </c:pt>
                <c:pt idx="1288">
                  <c:v>92.8</c:v>
                </c:pt>
                <c:pt idx="1289">
                  <c:v>92.62</c:v>
                </c:pt>
                <c:pt idx="1290">
                  <c:v>89.62666666666659</c:v>
                </c:pt>
                <c:pt idx="1291">
                  <c:v>96.4433333333333</c:v>
                </c:pt>
                <c:pt idx="1292">
                  <c:v>95.7825</c:v>
                </c:pt>
                <c:pt idx="1293">
                  <c:v>91.2425</c:v>
                </c:pt>
                <c:pt idx="1294">
                  <c:v>94.8249999999999</c:v>
                </c:pt>
                <c:pt idx="1295">
                  <c:v>97.9024999999999</c:v>
                </c:pt>
                <c:pt idx="1296">
                  <c:v>88.7833333333333</c:v>
                </c:pt>
                <c:pt idx="1297">
                  <c:v>93.2799999999999</c:v>
                </c:pt>
                <c:pt idx="1298">
                  <c:v>89.87666666666659</c:v>
                </c:pt>
                <c:pt idx="1299">
                  <c:v>93.4483333333333</c:v>
                </c:pt>
                <c:pt idx="1300">
                  <c:v>89.7108333333333</c:v>
                </c:pt>
                <c:pt idx="1301">
                  <c:v>93.5483333333333</c:v>
                </c:pt>
                <c:pt idx="1302">
                  <c:v>97.10250000000001</c:v>
                </c:pt>
                <c:pt idx="1303">
                  <c:v>93.54</c:v>
                </c:pt>
                <c:pt idx="1304">
                  <c:v>96.0174999999999</c:v>
                </c:pt>
                <c:pt idx="1305">
                  <c:v>95.88</c:v>
                </c:pt>
                <c:pt idx="1306">
                  <c:v>97.2791666666666</c:v>
                </c:pt>
                <c:pt idx="1307">
                  <c:v>92.1866666666666</c:v>
                </c:pt>
                <c:pt idx="1308">
                  <c:v>92.5733333333333</c:v>
                </c:pt>
                <c:pt idx="1309">
                  <c:v>92.2924999999999</c:v>
                </c:pt>
                <c:pt idx="1310">
                  <c:v>89.8566666666666</c:v>
                </c:pt>
                <c:pt idx="1311">
                  <c:v>95.3958333333333</c:v>
                </c:pt>
                <c:pt idx="1312">
                  <c:v>90.5158333333333</c:v>
                </c:pt>
                <c:pt idx="1313">
                  <c:v>91.7266666666666</c:v>
                </c:pt>
                <c:pt idx="1314">
                  <c:v>93.3374999999999</c:v>
                </c:pt>
                <c:pt idx="1315">
                  <c:v>94.0408333333333</c:v>
                </c:pt>
                <c:pt idx="1316">
                  <c:v>91.49583333333329</c:v>
                </c:pt>
                <c:pt idx="1317">
                  <c:v>91.9258333333333</c:v>
                </c:pt>
                <c:pt idx="1318">
                  <c:v>95.8208333333333</c:v>
                </c:pt>
                <c:pt idx="1319">
                  <c:v>96.0741666666666</c:v>
                </c:pt>
                <c:pt idx="1320">
                  <c:v>89.605</c:v>
                </c:pt>
                <c:pt idx="1321">
                  <c:v>94.2025</c:v>
                </c:pt>
                <c:pt idx="1322">
                  <c:v>94.43</c:v>
                </c:pt>
                <c:pt idx="1323">
                  <c:v>92.0566666666666</c:v>
                </c:pt>
                <c:pt idx="1324">
                  <c:v>93.2258333333333</c:v>
                </c:pt>
                <c:pt idx="1325">
                  <c:v>89.435</c:v>
                </c:pt>
                <c:pt idx="1326">
                  <c:v>89.13249999999999</c:v>
                </c:pt>
                <c:pt idx="1327">
                  <c:v>92.0774999999999</c:v>
                </c:pt>
                <c:pt idx="1328">
                  <c:v>89.79583333333331</c:v>
                </c:pt>
                <c:pt idx="1329">
                  <c:v>91.335</c:v>
                </c:pt>
                <c:pt idx="1330">
                  <c:v>91.1491666666666</c:v>
                </c:pt>
                <c:pt idx="1331">
                  <c:v>91.0808333333333</c:v>
                </c:pt>
                <c:pt idx="1332">
                  <c:v>93.5091666666666</c:v>
                </c:pt>
                <c:pt idx="1333">
                  <c:v>92.4108333333333</c:v>
                </c:pt>
                <c:pt idx="1334">
                  <c:v>91.29333333333329</c:v>
                </c:pt>
                <c:pt idx="1335">
                  <c:v>90.8941666666666</c:v>
                </c:pt>
                <c:pt idx="1336">
                  <c:v>92.7774999999999</c:v>
                </c:pt>
                <c:pt idx="1337">
                  <c:v>94.9325</c:v>
                </c:pt>
                <c:pt idx="1338">
                  <c:v>92.4341666666666</c:v>
                </c:pt>
                <c:pt idx="1339">
                  <c:v>93.0466666666666</c:v>
                </c:pt>
                <c:pt idx="1340">
                  <c:v>93.4225</c:v>
                </c:pt>
                <c:pt idx="1341">
                  <c:v>97.3491666666666</c:v>
                </c:pt>
                <c:pt idx="1342">
                  <c:v>96.46545454545451</c:v>
                </c:pt>
                <c:pt idx="1343">
                  <c:v>92.75</c:v>
                </c:pt>
                <c:pt idx="1344">
                  <c:v>92.2733333333333</c:v>
                </c:pt>
                <c:pt idx="1345">
                  <c:v>88.79333333333329</c:v>
                </c:pt>
                <c:pt idx="1346">
                  <c:v>87.6316666666666</c:v>
                </c:pt>
                <c:pt idx="1347">
                  <c:v>90.6841666666666</c:v>
                </c:pt>
                <c:pt idx="1348">
                  <c:v>90.2149999999999</c:v>
                </c:pt>
                <c:pt idx="1349">
                  <c:v>93.0183333333333</c:v>
                </c:pt>
                <c:pt idx="1350">
                  <c:v>94.705</c:v>
                </c:pt>
                <c:pt idx="1351">
                  <c:v>94.6641666666666</c:v>
                </c:pt>
                <c:pt idx="1352">
                  <c:v>92.75</c:v>
                </c:pt>
                <c:pt idx="1353">
                  <c:v>91.3899999999999</c:v>
                </c:pt>
                <c:pt idx="1354">
                  <c:v>93.83</c:v>
                </c:pt>
                <c:pt idx="1355">
                  <c:v>92.7083333333333</c:v>
                </c:pt>
                <c:pt idx="1356">
                  <c:v>91.6008333333333</c:v>
                </c:pt>
                <c:pt idx="1357">
                  <c:v>89.9425</c:v>
                </c:pt>
                <c:pt idx="1358">
                  <c:v>96.8275</c:v>
                </c:pt>
                <c:pt idx="1359">
                  <c:v>95.6466666666666</c:v>
                </c:pt>
                <c:pt idx="1360">
                  <c:v>91.2366666666666</c:v>
                </c:pt>
                <c:pt idx="1361">
                  <c:v>91.3058333333333</c:v>
                </c:pt>
                <c:pt idx="1362">
                  <c:v>90.5966666666666</c:v>
                </c:pt>
                <c:pt idx="1363">
                  <c:v>95.46</c:v>
                </c:pt>
                <c:pt idx="1364">
                  <c:v>95.66249999999989</c:v>
                </c:pt>
                <c:pt idx="1365">
                  <c:v>97.9458333333333</c:v>
                </c:pt>
                <c:pt idx="1366">
                  <c:v>92.9975</c:v>
                </c:pt>
                <c:pt idx="1367">
                  <c:v>95.6191666666666</c:v>
                </c:pt>
                <c:pt idx="1368">
                  <c:v>94.3691666666666</c:v>
                </c:pt>
                <c:pt idx="1369">
                  <c:v>88.0183333333333</c:v>
                </c:pt>
                <c:pt idx="1370">
                  <c:v>90.9316666666666</c:v>
                </c:pt>
                <c:pt idx="1371">
                  <c:v>94.17083333333331</c:v>
                </c:pt>
                <c:pt idx="1372">
                  <c:v>96.8141666666666</c:v>
                </c:pt>
                <c:pt idx="1373">
                  <c:v>92.745</c:v>
                </c:pt>
                <c:pt idx="1374">
                  <c:v>89.8866666666666</c:v>
                </c:pt>
                <c:pt idx="1375">
                  <c:v>91.8945454545454</c:v>
                </c:pt>
                <c:pt idx="1376">
                  <c:v>90.0557142857142</c:v>
                </c:pt>
                <c:pt idx="1377">
                  <c:v>92.5258333333333</c:v>
                </c:pt>
                <c:pt idx="1378">
                  <c:v>93.71875</c:v>
                </c:pt>
                <c:pt idx="1379">
                  <c:v>94.43583333333331</c:v>
                </c:pt>
                <c:pt idx="1380">
                  <c:v>95.4191666666666</c:v>
                </c:pt>
                <c:pt idx="1381">
                  <c:v>94.8399999999999</c:v>
                </c:pt>
                <c:pt idx="1382">
                  <c:v>90.7216666666666</c:v>
                </c:pt>
                <c:pt idx="1383">
                  <c:v>97.6366666666666</c:v>
                </c:pt>
                <c:pt idx="1384">
                  <c:v>90.5483333333333</c:v>
                </c:pt>
                <c:pt idx="1385">
                  <c:v>91.2508333333333</c:v>
                </c:pt>
                <c:pt idx="1386">
                  <c:v>92.0991666666666</c:v>
                </c:pt>
                <c:pt idx="1387">
                  <c:v>92.0972727272727</c:v>
                </c:pt>
                <c:pt idx="1388">
                  <c:v>97.9528571428571</c:v>
                </c:pt>
                <c:pt idx="1389">
                  <c:v>92.2066666666666</c:v>
                </c:pt>
                <c:pt idx="1390">
                  <c:v>96.4433333333333</c:v>
                </c:pt>
                <c:pt idx="1391">
                  <c:v>94.2766666666666</c:v>
                </c:pt>
                <c:pt idx="1392">
                  <c:v>90.67666666666661</c:v>
                </c:pt>
                <c:pt idx="1393">
                  <c:v>92.7891666666666</c:v>
                </c:pt>
                <c:pt idx="1394">
                  <c:v>87.26333333333331</c:v>
                </c:pt>
                <c:pt idx="1395">
                  <c:v>91.4716666666666</c:v>
                </c:pt>
                <c:pt idx="1396">
                  <c:v>96.0641666666666</c:v>
                </c:pt>
                <c:pt idx="1397">
                  <c:v>95.4941666666666</c:v>
                </c:pt>
                <c:pt idx="1398">
                  <c:v>94.4316666666666</c:v>
                </c:pt>
                <c:pt idx="1399">
                  <c:v>92.8424999999999</c:v>
                </c:pt>
                <c:pt idx="1400">
                  <c:v>97.06083333333331</c:v>
                </c:pt>
                <c:pt idx="1401">
                  <c:v>92.7966666666666</c:v>
                </c:pt>
                <c:pt idx="1402">
                  <c:v>92.505</c:v>
                </c:pt>
                <c:pt idx="1403">
                  <c:v>92.4841666666666</c:v>
                </c:pt>
                <c:pt idx="1404">
                  <c:v>91.757</c:v>
                </c:pt>
                <c:pt idx="1405">
                  <c:v>93.0808333333333</c:v>
                </c:pt>
                <c:pt idx="1406">
                  <c:v>92.68000000000001</c:v>
                </c:pt>
                <c:pt idx="1407">
                  <c:v>91.6341666666666</c:v>
                </c:pt>
                <c:pt idx="1408">
                  <c:v>95.1116666666666</c:v>
                </c:pt>
                <c:pt idx="1409">
                  <c:v>93.985</c:v>
                </c:pt>
                <c:pt idx="1410">
                  <c:v>94.455</c:v>
                </c:pt>
                <c:pt idx="1411">
                  <c:v>92.7975</c:v>
                </c:pt>
                <c:pt idx="1412">
                  <c:v>93.0241666666666</c:v>
                </c:pt>
                <c:pt idx="1413">
                  <c:v>92.905</c:v>
                </c:pt>
                <c:pt idx="1414">
                  <c:v>92.0183333333333</c:v>
                </c:pt>
                <c:pt idx="1415">
                  <c:v>94.9125</c:v>
                </c:pt>
                <c:pt idx="1416">
                  <c:v>93.8591666666666</c:v>
                </c:pt>
                <c:pt idx="1417">
                  <c:v>91.6866666666666</c:v>
                </c:pt>
                <c:pt idx="1418">
                  <c:v>93.88583333333329</c:v>
                </c:pt>
                <c:pt idx="1419">
                  <c:v>93.3266666666666</c:v>
                </c:pt>
                <c:pt idx="1420">
                  <c:v>94.9375</c:v>
                </c:pt>
                <c:pt idx="1421">
                  <c:v>94.24583333333329</c:v>
                </c:pt>
                <c:pt idx="1422">
                  <c:v>89.9783333333333</c:v>
                </c:pt>
                <c:pt idx="1423">
                  <c:v>93.0316666666666</c:v>
                </c:pt>
                <c:pt idx="1424">
                  <c:v>92.2708333333333</c:v>
                </c:pt>
                <c:pt idx="1425">
                  <c:v>93.9758333333333</c:v>
                </c:pt>
                <c:pt idx="1426">
                  <c:v>91.39</c:v>
                </c:pt>
                <c:pt idx="1427">
                  <c:v>89.6966666666666</c:v>
                </c:pt>
                <c:pt idx="1428">
                  <c:v>94.9491666666666</c:v>
                </c:pt>
                <c:pt idx="1429">
                  <c:v>93.5383333333333</c:v>
                </c:pt>
                <c:pt idx="1430">
                  <c:v>93.5866666666666</c:v>
                </c:pt>
                <c:pt idx="1431">
                  <c:v>91.4533333333333</c:v>
                </c:pt>
                <c:pt idx="1432">
                  <c:v>92.62</c:v>
                </c:pt>
                <c:pt idx="1433">
                  <c:v>95.2983333333333</c:v>
                </c:pt>
                <c:pt idx="1434">
                  <c:v>92.4125</c:v>
                </c:pt>
                <c:pt idx="1435">
                  <c:v>90.3666666666666</c:v>
                </c:pt>
                <c:pt idx="1436">
                  <c:v>92.2508333333333</c:v>
                </c:pt>
                <c:pt idx="1437">
                  <c:v>91.97</c:v>
                </c:pt>
                <c:pt idx="1438">
                  <c:v>93.7575</c:v>
                </c:pt>
                <c:pt idx="1439">
                  <c:v>95.6458333333333</c:v>
                </c:pt>
                <c:pt idx="1440">
                  <c:v>92.8783333333333</c:v>
                </c:pt>
                <c:pt idx="1441">
                  <c:v>92.85583333333329</c:v>
                </c:pt>
                <c:pt idx="1442">
                  <c:v>93.115</c:v>
                </c:pt>
                <c:pt idx="1443">
                  <c:v>92.2124999999999</c:v>
                </c:pt>
                <c:pt idx="1444">
                  <c:v>93.2191666666666</c:v>
                </c:pt>
                <c:pt idx="1445">
                  <c:v>93.7874999999999</c:v>
                </c:pt>
                <c:pt idx="1446">
                  <c:v>94.3299999999999</c:v>
                </c:pt>
                <c:pt idx="1447">
                  <c:v>95.2241666666666</c:v>
                </c:pt>
                <c:pt idx="1448">
                  <c:v>92.9408333333333</c:v>
                </c:pt>
                <c:pt idx="1449">
                  <c:v>90.1316666666666</c:v>
                </c:pt>
                <c:pt idx="1450">
                  <c:v>90.2141666666666</c:v>
                </c:pt>
                <c:pt idx="1451">
                  <c:v>91.85833333333331</c:v>
                </c:pt>
                <c:pt idx="1452">
                  <c:v>96.48</c:v>
                </c:pt>
                <c:pt idx="1453">
                  <c:v>96.3158333333333</c:v>
                </c:pt>
                <c:pt idx="1454">
                  <c:v>95.2591666666666</c:v>
                </c:pt>
                <c:pt idx="1455">
                  <c:v>95.25</c:v>
                </c:pt>
                <c:pt idx="1456">
                  <c:v>94.1225</c:v>
                </c:pt>
                <c:pt idx="1457">
                  <c:v>92.79</c:v>
                </c:pt>
                <c:pt idx="1458">
                  <c:v>90.6883333333333</c:v>
                </c:pt>
                <c:pt idx="1459">
                  <c:v>96.1525</c:v>
                </c:pt>
              </c:numCache>
            </c:numRef>
          </c:xVal>
          <c:yVal>
            <c:numRef>
              <c:f>'Water Trading Repository Table'!$B$3:$B$1462</c:f>
              <c:numCache>
                <c:formatCode>0.00</c:formatCode>
                <c:ptCount val="1460"/>
                <c:pt idx="0">
                  <c:v>2674.4305</c:v>
                </c:pt>
                <c:pt idx="1">
                  <c:v>2576.12783333333</c:v>
                </c:pt>
                <c:pt idx="2">
                  <c:v>2131.98195833333</c:v>
                </c:pt>
                <c:pt idx="3">
                  <c:v>2772.05595833333</c:v>
                </c:pt>
                <c:pt idx="4">
                  <c:v>2143.486625</c:v>
                </c:pt>
                <c:pt idx="5">
                  <c:v>2682.031125</c:v>
                </c:pt>
                <c:pt idx="6">
                  <c:v>1788.07475</c:v>
                </c:pt>
                <c:pt idx="7">
                  <c:v>2082.84509090909</c:v>
                </c:pt>
                <c:pt idx="8">
                  <c:v>1815.8505</c:v>
                </c:pt>
                <c:pt idx="9">
                  <c:v>2219.27536363636</c:v>
                </c:pt>
                <c:pt idx="10">
                  <c:v>2142.3453</c:v>
                </c:pt>
                <c:pt idx="11">
                  <c:v>2169.74370833333</c:v>
                </c:pt>
                <c:pt idx="12">
                  <c:v>2228.9215</c:v>
                </c:pt>
                <c:pt idx="13">
                  <c:v>2289.449</c:v>
                </c:pt>
                <c:pt idx="14">
                  <c:v>1966.19391666666</c:v>
                </c:pt>
                <c:pt idx="15">
                  <c:v>2222.98404166666</c:v>
                </c:pt>
                <c:pt idx="16">
                  <c:v>1651.58858333333</c:v>
                </c:pt>
                <c:pt idx="17">
                  <c:v>1957.57495833333</c:v>
                </c:pt>
                <c:pt idx="18">
                  <c:v>1865.02499999999</c:v>
                </c:pt>
                <c:pt idx="19">
                  <c:v>2157.29333333333</c:v>
                </c:pt>
                <c:pt idx="20">
                  <c:v>1933.90079166666</c:v>
                </c:pt>
                <c:pt idx="21">
                  <c:v>2161.194375</c:v>
                </c:pt>
                <c:pt idx="22">
                  <c:v>1672.51316666666</c:v>
                </c:pt>
                <c:pt idx="23">
                  <c:v>1928.05904166666</c:v>
                </c:pt>
                <c:pt idx="24">
                  <c:v>1863.63699999999</c:v>
                </c:pt>
                <c:pt idx="25">
                  <c:v>2185.68658333333</c:v>
                </c:pt>
                <c:pt idx="26">
                  <c:v>2185.57604166666</c:v>
                </c:pt>
                <c:pt idx="27">
                  <c:v>3175.27691666666</c:v>
                </c:pt>
                <c:pt idx="28">
                  <c:v>2648.79408333333</c:v>
                </c:pt>
                <c:pt idx="29">
                  <c:v>3164.51675</c:v>
                </c:pt>
                <c:pt idx="30">
                  <c:v>2308.03954166666</c:v>
                </c:pt>
                <c:pt idx="31">
                  <c:v>2417.77904166666</c:v>
                </c:pt>
                <c:pt idx="32">
                  <c:v>1961.419625</c:v>
                </c:pt>
                <c:pt idx="33">
                  <c:v>2127.07145833333</c:v>
                </c:pt>
                <c:pt idx="34">
                  <c:v>2004.69231249999</c:v>
                </c:pt>
                <c:pt idx="35">
                  <c:v>2200.499</c:v>
                </c:pt>
                <c:pt idx="36">
                  <c:v>1839.56214285714</c:v>
                </c:pt>
                <c:pt idx="37">
                  <c:v>2184.156125</c:v>
                </c:pt>
                <c:pt idx="38">
                  <c:v>1748.4125</c:v>
                </c:pt>
                <c:pt idx="39">
                  <c:v>2417.65070833333</c:v>
                </c:pt>
                <c:pt idx="40">
                  <c:v>2067.54829166666</c:v>
                </c:pt>
                <c:pt idx="41">
                  <c:v>2572.71675</c:v>
                </c:pt>
                <c:pt idx="42">
                  <c:v>2070.56383333333</c:v>
                </c:pt>
                <c:pt idx="43">
                  <c:v>2702.10716666666</c:v>
                </c:pt>
                <c:pt idx="44">
                  <c:v>2155.50554166666</c:v>
                </c:pt>
                <c:pt idx="45">
                  <c:v>2449.97354166666</c:v>
                </c:pt>
                <c:pt idx="46">
                  <c:v>1994.98945454545</c:v>
                </c:pt>
                <c:pt idx="47">
                  <c:v>2281.83491666666</c:v>
                </c:pt>
                <c:pt idx="48">
                  <c:v>1951.52633333333</c:v>
                </c:pt>
                <c:pt idx="49">
                  <c:v>2341.05929166666</c:v>
                </c:pt>
                <c:pt idx="50">
                  <c:v>1823.69091666666</c:v>
                </c:pt>
                <c:pt idx="51">
                  <c:v>2288.37904166666</c:v>
                </c:pt>
                <c:pt idx="52">
                  <c:v>1833.969625</c:v>
                </c:pt>
                <c:pt idx="53">
                  <c:v>2465.66325</c:v>
                </c:pt>
                <c:pt idx="54">
                  <c:v>1844.722</c:v>
                </c:pt>
                <c:pt idx="55">
                  <c:v>2259.03716666666</c:v>
                </c:pt>
                <c:pt idx="56">
                  <c:v>1988.96608333333</c:v>
                </c:pt>
                <c:pt idx="57">
                  <c:v>2498.43016666666</c:v>
                </c:pt>
                <c:pt idx="58">
                  <c:v>2064.48324999999</c:v>
                </c:pt>
                <c:pt idx="59">
                  <c:v>2629.69354166666</c:v>
                </c:pt>
                <c:pt idx="60">
                  <c:v>2088.80875</c:v>
                </c:pt>
                <c:pt idx="61">
                  <c:v>2670.88983333333</c:v>
                </c:pt>
                <c:pt idx="62">
                  <c:v>2061.80587499999</c:v>
                </c:pt>
                <c:pt idx="63">
                  <c:v>2388.200625</c:v>
                </c:pt>
                <c:pt idx="64">
                  <c:v>2012.08266666666</c:v>
                </c:pt>
                <c:pt idx="65">
                  <c:v>2765.58395833333</c:v>
                </c:pt>
                <c:pt idx="66">
                  <c:v>1877.67058333333</c:v>
                </c:pt>
                <c:pt idx="67">
                  <c:v>2193.59641666666</c:v>
                </c:pt>
                <c:pt idx="68">
                  <c:v>2175.58921428571</c:v>
                </c:pt>
                <c:pt idx="69">
                  <c:v>2378.29995833333</c:v>
                </c:pt>
                <c:pt idx="70">
                  <c:v>2051.62914285714</c:v>
                </c:pt>
                <c:pt idx="71">
                  <c:v>2120.047875</c:v>
                </c:pt>
                <c:pt idx="72">
                  <c:v>1760.261375</c:v>
                </c:pt>
                <c:pt idx="73">
                  <c:v>2111.64145833333</c:v>
                </c:pt>
                <c:pt idx="74">
                  <c:v>2026.51229166666</c:v>
                </c:pt>
                <c:pt idx="75">
                  <c:v>2289.05620833333</c:v>
                </c:pt>
                <c:pt idx="76">
                  <c:v>1996.34679166666</c:v>
                </c:pt>
                <c:pt idx="77">
                  <c:v>2194.73129166666</c:v>
                </c:pt>
                <c:pt idx="78">
                  <c:v>1922.08879166666</c:v>
                </c:pt>
                <c:pt idx="79">
                  <c:v>2188.25929166666</c:v>
                </c:pt>
                <c:pt idx="80">
                  <c:v>1805.33145833333</c:v>
                </c:pt>
                <c:pt idx="81">
                  <c:v>1953.63308333333</c:v>
                </c:pt>
                <c:pt idx="82">
                  <c:v>1709.93233333333</c:v>
                </c:pt>
                <c:pt idx="83">
                  <c:v>2004.21187499999</c:v>
                </c:pt>
                <c:pt idx="84">
                  <c:v>1882.41370833333</c:v>
                </c:pt>
                <c:pt idx="85">
                  <c:v>2126.41379166666</c:v>
                </c:pt>
                <c:pt idx="86">
                  <c:v>2547.82225</c:v>
                </c:pt>
                <c:pt idx="87">
                  <c:v>3266.07708333333</c:v>
                </c:pt>
                <c:pt idx="88">
                  <c:v>2419.28275</c:v>
                </c:pt>
                <c:pt idx="89">
                  <c:v>2691.45399999999</c:v>
                </c:pt>
                <c:pt idx="90">
                  <c:v>2256.86075</c:v>
                </c:pt>
                <c:pt idx="91">
                  <c:v>2775.10066666666</c:v>
                </c:pt>
                <c:pt idx="92">
                  <c:v>2142.85258333333</c:v>
                </c:pt>
                <c:pt idx="93">
                  <c:v>2670.64508333333</c:v>
                </c:pt>
                <c:pt idx="94">
                  <c:v>1874.96795833333</c:v>
                </c:pt>
                <c:pt idx="95">
                  <c:v>2058.61191666666</c:v>
                </c:pt>
                <c:pt idx="96">
                  <c:v>1985.4231</c:v>
                </c:pt>
                <c:pt idx="97">
                  <c:v>2291.04</c:v>
                </c:pt>
                <c:pt idx="98">
                  <c:v>2199.879625</c:v>
                </c:pt>
                <c:pt idx="99">
                  <c:v>2610.51429166666</c:v>
                </c:pt>
                <c:pt idx="100">
                  <c:v>2211.90070833333</c:v>
                </c:pt>
                <c:pt idx="101">
                  <c:v>3203.99358333333</c:v>
                </c:pt>
                <c:pt idx="102">
                  <c:v>2531.77875</c:v>
                </c:pt>
                <c:pt idx="103">
                  <c:v>3296.54145833333</c:v>
                </c:pt>
                <c:pt idx="104">
                  <c:v>2438.704875</c:v>
                </c:pt>
                <c:pt idx="105">
                  <c:v>2403.74920833333</c:v>
                </c:pt>
                <c:pt idx="106">
                  <c:v>1741.94345833333</c:v>
                </c:pt>
                <c:pt idx="107">
                  <c:v>1985.73895833333</c:v>
                </c:pt>
                <c:pt idx="108">
                  <c:v>1658.63741666666</c:v>
                </c:pt>
                <c:pt idx="109">
                  <c:v>2032.00670833333</c:v>
                </c:pt>
                <c:pt idx="110">
                  <c:v>2014.14358333333</c:v>
                </c:pt>
                <c:pt idx="111">
                  <c:v>2763.39149999999</c:v>
                </c:pt>
                <c:pt idx="112">
                  <c:v>2260.07733333333</c:v>
                </c:pt>
                <c:pt idx="113">
                  <c:v>3089.39804166666</c:v>
                </c:pt>
                <c:pt idx="114">
                  <c:v>2268.41604166666</c:v>
                </c:pt>
                <c:pt idx="115">
                  <c:v>2928.504125</c:v>
                </c:pt>
                <c:pt idx="116">
                  <c:v>2219.08508333333</c:v>
                </c:pt>
                <c:pt idx="117">
                  <c:v>2785.351</c:v>
                </c:pt>
                <c:pt idx="118">
                  <c:v>2022.31391666666</c:v>
                </c:pt>
                <c:pt idx="119">
                  <c:v>2246.174625</c:v>
                </c:pt>
                <c:pt idx="120">
                  <c:v>1955.92941666666</c:v>
                </c:pt>
                <c:pt idx="121">
                  <c:v>2746.75520833333</c:v>
                </c:pt>
                <c:pt idx="122">
                  <c:v>1767.717125</c:v>
                </c:pt>
                <c:pt idx="123">
                  <c:v>2275.62616666666</c:v>
                </c:pt>
                <c:pt idx="124">
                  <c:v>2016.70516666666</c:v>
                </c:pt>
                <c:pt idx="125">
                  <c:v>2550.789</c:v>
                </c:pt>
                <c:pt idx="126">
                  <c:v>1815.82908333333</c:v>
                </c:pt>
                <c:pt idx="127">
                  <c:v>2059.78404166666</c:v>
                </c:pt>
                <c:pt idx="128">
                  <c:v>1758.11533333333</c:v>
                </c:pt>
                <c:pt idx="129">
                  <c:v>2062.889875</c:v>
                </c:pt>
                <c:pt idx="130">
                  <c:v>2008.605625</c:v>
                </c:pt>
                <c:pt idx="131">
                  <c:v>2403.17054166666</c:v>
                </c:pt>
                <c:pt idx="132">
                  <c:v>1802.78075</c:v>
                </c:pt>
                <c:pt idx="133">
                  <c:v>2012.33841666666</c:v>
                </c:pt>
                <c:pt idx="134">
                  <c:v>1925.64695833333</c:v>
                </c:pt>
                <c:pt idx="135">
                  <c:v>2278.76370833333</c:v>
                </c:pt>
                <c:pt idx="136">
                  <c:v>2003.20657142857</c:v>
                </c:pt>
                <c:pt idx="137">
                  <c:v>2089.93858333333</c:v>
                </c:pt>
                <c:pt idx="138">
                  <c:v>1675.94927272727</c:v>
                </c:pt>
                <c:pt idx="139">
                  <c:v>2098.66945833333</c:v>
                </c:pt>
                <c:pt idx="140">
                  <c:v>1905.87735</c:v>
                </c:pt>
                <c:pt idx="141">
                  <c:v>2054.77229166666</c:v>
                </c:pt>
                <c:pt idx="142">
                  <c:v>1897.8969090909</c:v>
                </c:pt>
                <c:pt idx="143">
                  <c:v>2157.90275</c:v>
                </c:pt>
                <c:pt idx="144">
                  <c:v>2109.0095</c:v>
                </c:pt>
                <c:pt idx="145">
                  <c:v>2259.53731818181</c:v>
                </c:pt>
                <c:pt idx="146">
                  <c:v>2036.0522</c:v>
                </c:pt>
                <c:pt idx="147">
                  <c:v>2303.133875</c:v>
                </c:pt>
                <c:pt idx="148">
                  <c:v>1791.68449999999</c:v>
                </c:pt>
                <c:pt idx="149">
                  <c:v>2076.2275</c:v>
                </c:pt>
                <c:pt idx="150">
                  <c:v>1771.01158333333</c:v>
                </c:pt>
                <c:pt idx="151">
                  <c:v>2304.18295833333</c:v>
                </c:pt>
                <c:pt idx="152">
                  <c:v>2108.38570833333</c:v>
                </c:pt>
                <c:pt idx="153">
                  <c:v>2577.164625</c:v>
                </c:pt>
                <c:pt idx="154">
                  <c:v>2107.15958333333</c:v>
                </c:pt>
                <c:pt idx="155">
                  <c:v>2527.91441666666</c:v>
                </c:pt>
                <c:pt idx="156">
                  <c:v>2046.20375</c:v>
                </c:pt>
                <c:pt idx="157">
                  <c:v>2268.36779166666</c:v>
                </c:pt>
                <c:pt idx="158">
                  <c:v>1968.24409090909</c:v>
                </c:pt>
                <c:pt idx="159">
                  <c:v>2173.028625</c:v>
                </c:pt>
                <c:pt idx="160">
                  <c:v>2010.48955555555</c:v>
                </c:pt>
                <c:pt idx="161">
                  <c:v>2118.190375</c:v>
                </c:pt>
                <c:pt idx="162">
                  <c:v>1785.15037499999</c:v>
                </c:pt>
                <c:pt idx="163">
                  <c:v>1962.36544999999</c:v>
                </c:pt>
                <c:pt idx="164">
                  <c:v>1752.3129</c:v>
                </c:pt>
                <c:pt idx="165">
                  <c:v>1970.06404545454</c:v>
                </c:pt>
                <c:pt idx="166">
                  <c:v>2105.802125</c:v>
                </c:pt>
                <c:pt idx="167">
                  <c:v>2244.61220833333</c:v>
                </c:pt>
                <c:pt idx="168">
                  <c:v>2130.47057142857</c:v>
                </c:pt>
                <c:pt idx="169">
                  <c:v>2107.23454166666</c:v>
                </c:pt>
                <c:pt idx="170">
                  <c:v>1890.046125</c:v>
                </c:pt>
                <c:pt idx="171">
                  <c:v>2064.86241666666</c:v>
                </c:pt>
                <c:pt idx="172">
                  <c:v>1992.39727777777</c:v>
                </c:pt>
                <c:pt idx="173">
                  <c:v>2193.59583333333</c:v>
                </c:pt>
                <c:pt idx="174">
                  <c:v>1713.057875</c:v>
                </c:pt>
                <c:pt idx="175">
                  <c:v>1844.64211111111</c:v>
                </c:pt>
                <c:pt idx="176">
                  <c:v>1794.3062</c:v>
                </c:pt>
                <c:pt idx="177">
                  <c:v>1879.98222222222</c:v>
                </c:pt>
                <c:pt idx="178">
                  <c:v>1726.26783333333</c:v>
                </c:pt>
                <c:pt idx="179">
                  <c:v>1909.55291666666</c:v>
                </c:pt>
                <c:pt idx="180">
                  <c:v>1895.53734999999</c:v>
                </c:pt>
                <c:pt idx="181">
                  <c:v>2075.28145833333</c:v>
                </c:pt>
                <c:pt idx="182">
                  <c:v>2204.4625</c:v>
                </c:pt>
                <c:pt idx="183">
                  <c:v>2647.48058333333</c:v>
                </c:pt>
                <c:pt idx="184">
                  <c:v>1895.28920833333</c:v>
                </c:pt>
                <c:pt idx="185">
                  <c:v>2096.71670833333</c:v>
                </c:pt>
                <c:pt idx="186">
                  <c:v>2094.10083333333</c:v>
                </c:pt>
                <c:pt idx="187">
                  <c:v>2630.43091666666</c:v>
                </c:pt>
                <c:pt idx="188">
                  <c:v>1754.18574999999</c:v>
                </c:pt>
                <c:pt idx="189">
                  <c:v>1884.88554545454</c:v>
                </c:pt>
                <c:pt idx="190">
                  <c:v>1949.35475</c:v>
                </c:pt>
                <c:pt idx="191">
                  <c:v>2305.11054166666</c:v>
                </c:pt>
                <c:pt idx="192">
                  <c:v>2093.98512499999</c:v>
                </c:pt>
                <c:pt idx="193">
                  <c:v>2421.53862499999</c:v>
                </c:pt>
                <c:pt idx="194">
                  <c:v>1716.26629166666</c:v>
                </c:pt>
                <c:pt idx="195">
                  <c:v>1981.66070833333</c:v>
                </c:pt>
                <c:pt idx="196">
                  <c:v>1874.97291666666</c:v>
                </c:pt>
                <c:pt idx="197">
                  <c:v>2096.99399999999</c:v>
                </c:pt>
                <c:pt idx="198">
                  <c:v>1859.77166666666</c:v>
                </c:pt>
                <c:pt idx="199">
                  <c:v>2115.2125</c:v>
                </c:pt>
                <c:pt idx="200">
                  <c:v>2080.55758333333</c:v>
                </c:pt>
                <c:pt idx="201">
                  <c:v>2572.006</c:v>
                </c:pt>
                <c:pt idx="202">
                  <c:v>1915.4982</c:v>
                </c:pt>
                <c:pt idx="203">
                  <c:v>2139.759</c:v>
                </c:pt>
                <c:pt idx="204">
                  <c:v>1821.26558333333</c:v>
                </c:pt>
                <c:pt idx="205">
                  <c:v>2098.18991666666</c:v>
                </c:pt>
                <c:pt idx="206">
                  <c:v>1740.50766666666</c:v>
                </c:pt>
                <c:pt idx="207">
                  <c:v>2164.19929166666</c:v>
                </c:pt>
                <c:pt idx="208">
                  <c:v>2045.94541666666</c:v>
                </c:pt>
                <c:pt idx="209">
                  <c:v>2398.56170833333</c:v>
                </c:pt>
                <c:pt idx="210">
                  <c:v>2048.9235</c:v>
                </c:pt>
                <c:pt idx="211">
                  <c:v>2373.506</c:v>
                </c:pt>
                <c:pt idx="212">
                  <c:v>1995.30845833333</c:v>
                </c:pt>
                <c:pt idx="213">
                  <c:v>2278.07858333333</c:v>
                </c:pt>
                <c:pt idx="214">
                  <c:v>1923.85266666666</c:v>
                </c:pt>
                <c:pt idx="215">
                  <c:v>2298.48358333333</c:v>
                </c:pt>
                <c:pt idx="216">
                  <c:v>1924.03687499999</c:v>
                </c:pt>
                <c:pt idx="217">
                  <c:v>2205.93491666666</c:v>
                </c:pt>
                <c:pt idx="218">
                  <c:v>1731.95370833333</c:v>
                </c:pt>
                <c:pt idx="219">
                  <c:v>1932.34066666666</c:v>
                </c:pt>
                <c:pt idx="220">
                  <c:v>1618.65729166666</c:v>
                </c:pt>
                <c:pt idx="221">
                  <c:v>1923.44045833333</c:v>
                </c:pt>
                <c:pt idx="222">
                  <c:v>1879.78416666666</c:v>
                </c:pt>
                <c:pt idx="223">
                  <c:v>2109.70466666666</c:v>
                </c:pt>
                <c:pt idx="224">
                  <c:v>1805.62670833333</c:v>
                </c:pt>
                <c:pt idx="225">
                  <c:v>2094.196125</c:v>
                </c:pt>
                <c:pt idx="226">
                  <c:v>1835.21833333333</c:v>
                </c:pt>
                <c:pt idx="227">
                  <c:v>2135.9255</c:v>
                </c:pt>
                <c:pt idx="228">
                  <c:v>1650.9535</c:v>
                </c:pt>
                <c:pt idx="229">
                  <c:v>1909.936875</c:v>
                </c:pt>
                <c:pt idx="230">
                  <c:v>1819.76733333333</c:v>
                </c:pt>
                <c:pt idx="231">
                  <c:v>2076.17883333333</c:v>
                </c:pt>
                <c:pt idx="232">
                  <c:v>1647.12066666666</c:v>
                </c:pt>
                <c:pt idx="233">
                  <c:v>1907.809875</c:v>
                </c:pt>
                <c:pt idx="234">
                  <c:v>1546.12645833333</c:v>
                </c:pt>
                <c:pt idx="235">
                  <c:v>1858.03879166666</c:v>
                </c:pt>
                <c:pt idx="236">
                  <c:v>1922.371</c:v>
                </c:pt>
                <c:pt idx="237">
                  <c:v>2112.48645833333</c:v>
                </c:pt>
                <c:pt idx="238">
                  <c:v>2040.25571428571</c:v>
                </c:pt>
                <c:pt idx="239">
                  <c:v>2149.37733333333</c:v>
                </c:pt>
                <c:pt idx="240">
                  <c:v>1816.918</c:v>
                </c:pt>
                <c:pt idx="241">
                  <c:v>2432.27331818181</c:v>
                </c:pt>
                <c:pt idx="242">
                  <c:v>2029.36579166666</c:v>
                </c:pt>
                <c:pt idx="243">
                  <c:v>2417.70766666666</c:v>
                </c:pt>
                <c:pt idx="244">
                  <c:v>1971.13304166666</c:v>
                </c:pt>
                <c:pt idx="245">
                  <c:v>2307.28170833333</c:v>
                </c:pt>
                <c:pt idx="246">
                  <c:v>2072.04604166666</c:v>
                </c:pt>
                <c:pt idx="247">
                  <c:v>2325.55370833333</c:v>
                </c:pt>
                <c:pt idx="248">
                  <c:v>1682.53033333333</c:v>
                </c:pt>
                <c:pt idx="249">
                  <c:v>1845.692375</c:v>
                </c:pt>
                <c:pt idx="250">
                  <c:v>1947.22745833333</c:v>
                </c:pt>
                <c:pt idx="251">
                  <c:v>2272.67083333333</c:v>
                </c:pt>
                <c:pt idx="252">
                  <c:v>2162.96904166666</c:v>
                </c:pt>
                <c:pt idx="253">
                  <c:v>2396.80916666666</c:v>
                </c:pt>
                <c:pt idx="254">
                  <c:v>1959.90287499999</c:v>
                </c:pt>
                <c:pt idx="255">
                  <c:v>2223.83566666666</c:v>
                </c:pt>
                <c:pt idx="256">
                  <c:v>1947.63870833333</c:v>
                </c:pt>
                <c:pt idx="257">
                  <c:v>2195.36529166666</c:v>
                </c:pt>
                <c:pt idx="258">
                  <c:v>1752.35545833333</c:v>
                </c:pt>
                <c:pt idx="259">
                  <c:v>1953.04658333333</c:v>
                </c:pt>
                <c:pt idx="260">
                  <c:v>2006.93199999999</c:v>
                </c:pt>
                <c:pt idx="261">
                  <c:v>2167.68195833333</c:v>
                </c:pt>
                <c:pt idx="262">
                  <c:v>2025.96983333333</c:v>
                </c:pt>
                <c:pt idx="263">
                  <c:v>2364.04054166666</c:v>
                </c:pt>
                <c:pt idx="264">
                  <c:v>1953.5266875</c:v>
                </c:pt>
                <c:pt idx="265">
                  <c:v>2081.50116666666</c:v>
                </c:pt>
                <c:pt idx="266">
                  <c:v>1833.82929166666</c:v>
                </c:pt>
                <c:pt idx="267">
                  <c:v>2114.1895</c:v>
                </c:pt>
                <c:pt idx="268">
                  <c:v>1983.90711111111</c:v>
                </c:pt>
                <c:pt idx="269">
                  <c:v>2093.39308333333</c:v>
                </c:pt>
                <c:pt idx="270">
                  <c:v>1989.154375</c:v>
                </c:pt>
                <c:pt idx="271">
                  <c:v>2151.98383333333</c:v>
                </c:pt>
                <c:pt idx="272">
                  <c:v>1885.09454545454</c:v>
                </c:pt>
                <c:pt idx="273">
                  <c:v>2100.12425</c:v>
                </c:pt>
                <c:pt idx="274">
                  <c:v>1702.17618181818</c:v>
                </c:pt>
                <c:pt idx="275">
                  <c:v>1951.595625</c:v>
                </c:pt>
                <c:pt idx="276">
                  <c:v>1599.57408333333</c:v>
                </c:pt>
                <c:pt idx="277">
                  <c:v>1928.08866666666</c:v>
                </c:pt>
                <c:pt idx="278">
                  <c:v>1874.05004166666</c:v>
                </c:pt>
                <c:pt idx="279">
                  <c:v>2228.79675</c:v>
                </c:pt>
                <c:pt idx="280">
                  <c:v>1865.50854166666</c:v>
                </c:pt>
                <c:pt idx="281">
                  <c:v>2147.93854166666</c:v>
                </c:pt>
                <c:pt idx="282">
                  <c:v>1896.82779166666</c:v>
                </c:pt>
                <c:pt idx="283">
                  <c:v>2179.96991666666</c:v>
                </c:pt>
                <c:pt idx="284">
                  <c:v>1908.97083333333</c:v>
                </c:pt>
                <c:pt idx="285">
                  <c:v>2201.03941666666</c:v>
                </c:pt>
                <c:pt idx="286">
                  <c:v>1941.47354166666</c:v>
                </c:pt>
                <c:pt idx="287">
                  <c:v>2156.947125</c:v>
                </c:pt>
                <c:pt idx="288">
                  <c:v>1900.72428571428</c:v>
                </c:pt>
                <c:pt idx="289">
                  <c:v>1990.69633333333</c:v>
                </c:pt>
                <c:pt idx="290">
                  <c:v>1641.170875</c:v>
                </c:pt>
                <c:pt idx="291">
                  <c:v>1928.349</c:v>
                </c:pt>
                <c:pt idx="292">
                  <c:v>1902.70066666666</c:v>
                </c:pt>
                <c:pt idx="293">
                  <c:v>2189.06766666666</c:v>
                </c:pt>
                <c:pt idx="294">
                  <c:v>1932.23420833333</c:v>
                </c:pt>
                <c:pt idx="295">
                  <c:v>2221.45120833333</c:v>
                </c:pt>
                <c:pt idx="296">
                  <c:v>1911.44145833333</c:v>
                </c:pt>
                <c:pt idx="297">
                  <c:v>2154.56716666666</c:v>
                </c:pt>
                <c:pt idx="298">
                  <c:v>2086.45572222222</c:v>
                </c:pt>
                <c:pt idx="299">
                  <c:v>2375.89162499999</c:v>
                </c:pt>
                <c:pt idx="300">
                  <c:v>2278.90968749999</c:v>
                </c:pt>
                <c:pt idx="301">
                  <c:v>2414.67318181818</c:v>
                </c:pt>
                <c:pt idx="302">
                  <c:v>1976.13129999999</c:v>
                </c:pt>
                <c:pt idx="303">
                  <c:v>2665.508625</c:v>
                </c:pt>
                <c:pt idx="304">
                  <c:v>2063.612</c:v>
                </c:pt>
                <c:pt idx="305">
                  <c:v>2220.75304166666</c:v>
                </c:pt>
                <c:pt idx="306">
                  <c:v>2043.6455</c:v>
                </c:pt>
                <c:pt idx="307">
                  <c:v>2350.27729166666</c:v>
                </c:pt>
                <c:pt idx="308">
                  <c:v>1895.89842857142</c:v>
                </c:pt>
                <c:pt idx="309">
                  <c:v>2092.56974999999</c:v>
                </c:pt>
                <c:pt idx="310">
                  <c:v>1798.14591666666</c:v>
                </c:pt>
                <c:pt idx="311">
                  <c:v>2105.56733333333</c:v>
                </c:pt>
                <c:pt idx="312">
                  <c:v>1923.17379166666</c:v>
                </c:pt>
                <c:pt idx="313">
                  <c:v>2208.37954166666</c:v>
                </c:pt>
                <c:pt idx="314">
                  <c:v>1958.063125</c:v>
                </c:pt>
                <c:pt idx="315">
                  <c:v>2245.55820833333</c:v>
                </c:pt>
                <c:pt idx="316">
                  <c:v>1918.86162499999</c:v>
                </c:pt>
                <c:pt idx="317">
                  <c:v>2000.08429166666</c:v>
                </c:pt>
                <c:pt idx="318">
                  <c:v>1909.68320833333</c:v>
                </c:pt>
                <c:pt idx="319">
                  <c:v>2065.28845833333</c:v>
                </c:pt>
                <c:pt idx="320">
                  <c:v>1660.33879166666</c:v>
                </c:pt>
                <c:pt idx="321">
                  <c:v>1883.58904166666</c:v>
                </c:pt>
                <c:pt idx="322">
                  <c:v>1905.79729166666</c:v>
                </c:pt>
                <c:pt idx="323">
                  <c:v>2126.854125</c:v>
                </c:pt>
                <c:pt idx="324">
                  <c:v>2100.21645833333</c:v>
                </c:pt>
                <c:pt idx="325">
                  <c:v>2545.14741666666</c:v>
                </c:pt>
                <c:pt idx="326">
                  <c:v>2023.94958333333</c:v>
                </c:pt>
                <c:pt idx="327">
                  <c:v>2276.050125</c:v>
                </c:pt>
                <c:pt idx="328">
                  <c:v>1991.160125</c:v>
                </c:pt>
                <c:pt idx="329">
                  <c:v>2287.93870833333</c:v>
                </c:pt>
                <c:pt idx="330">
                  <c:v>1849.92329166666</c:v>
                </c:pt>
                <c:pt idx="331">
                  <c:v>2194.12920833333</c:v>
                </c:pt>
                <c:pt idx="332">
                  <c:v>1790.38795833333</c:v>
                </c:pt>
                <c:pt idx="333">
                  <c:v>2141.336375</c:v>
                </c:pt>
                <c:pt idx="334">
                  <c:v>2057.93349999999</c:v>
                </c:pt>
                <c:pt idx="335">
                  <c:v>2406.06816666666</c:v>
                </c:pt>
                <c:pt idx="336">
                  <c:v>2095.86541666666</c:v>
                </c:pt>
                <c:pt idx="337">
                  <c:v>2445.301</c:v>
                </c:pt>
                <c:pt idx="338">
                  <c:v>2086.92258333333</c:v>
                </c:pt>
                <c:pt idx="339">
                  <c:v>2370.00979166666</c:v>
                </c:pt>
                <c:pt idx="340">
                  <c:v>2085.08641666666</c:v>
                </c:pt>
                <c:pt idx="341">
                  <c:v>2395.16129166666</c:v>
                </c:pt>
                <c:pt idx="342">
                  <c:v>2235.58866666666</c:v>
                </c:pt>
                <c:pt idx="343">
                  <c:v>2318.01045833333</c:v>
                </c:pt>
                <c:pt idx="344">
                  <c:v>2014.8761875</c:v>
                </c:pt>
                <c:pt idx="345">
                  <c:v>2078.22725</c:v>
                </c:pt>
                <c:pt idx="346">
                  <c:v>1914.3522</c:v>
                </c:pt>
                <c:pt idx="347">
                  <c:v>2149.40616666666</c:v>
                </c:pt>
                <c:pt idx="348">
                  <c:v>1990.13631818181</c:v>
                </c:pt>
                <c:pt idx="349">
                  <c:v>2258.92833333333</c:v>
                </c:pt>
                <c:pt idx="350">
                  <c:v>1961.3875</c:v>
                </c:pt>
                <c:pt idx="351">
                  <c:v>2335.626125</c:v>
                </c:pt>
                <c:pt idx="352">
                  <c:v>2000.83629166666</c:v>
                </c:pt>
                <c:pt idx="353">
                  <c:v>2338.03887499999</c:v>
                </c:pt>
                <c:pt idx="354">
                  <c:v>2019.33712499999</c:v>
                </c:pt>
                <c:pt idx="355">
                  <c:v>2289.04070833333</c:v>
                </c:pt>
                <c:pt idx="356">
                  <c:v>1994.43520833333</c:v>
                </c:pt>
                <c:pt idx="357">
                  <c:v>2222.37770833333</c:v>
                </c:pt>
                <c:pt idx="358">
                  <c:v>1792.535625</c:v>
                </c:pt>
                <c:pt idx="359">
                  <c:v>2035.47041666666</c:v>
                </c:pt>
                <c:pt idx="360">
                  <c:v>1825.59381249999</c:v>
                </c:pt>
                <c:pt idx="361">
                  <c:v>2076.48879166666</c:v>
                </c:pt>
                <c:pt idx="362">
                  <c:v>2384.762875</c:v>
                </c:pt>
                <c:pt idx="363">
                  <c:v>3175.5055</c:v>
                </c:pt>
                <c:pt idx="364">
                  <c:v>1879.307</c:v>
                </c:pt>
                <c:pt idx="365">
                  <c:v>2233.83775</c:v>
                </c:pt>
                <c:pt idx="366">
                  <c:v>2098.06265</c:v>
                </c:pt>
                <c:pt idx="367">
                  <c:v>2477.55145833333</c:v>
                </c:pt>
                <c:pt idx="368">
                  <c:v>1810.37575</c:v>
                </c:pt>
                <c:pt idx="369">
                  <c:v>2138.38879166666</c:v>
                </c:pt>
                <c:pt idx="370">
                  <c:v>1767.764</c:v>
                </c:pt>
                <c:pt idx="371">
                  <c:v>2166.1871</c:v>
                </c:pt>
                <c:pt idx="372">
                  <c:v>1971.05274999999</c:v>
                </c:pt>
                <c:pt idx="373">
                  <c:v>2203.15641666666</c:v>
                </c:pt>
                <c:pt idx="374">
                  <c:v>1859.28154166666</c:v>
                </c:pt>
                <c:pt idx="375">
                  <c:v>2249.01529166666</c:v>
                </c:pt>
                <c:pt idx="376">
                  <c:v>1922.16112499999</c:v>
                </c:pt>
                <c:pt idx="377">
                  <c:v>2221.432875</c:v>
                </c:pt>
                <c:pt idx="378">
                  <c:v>1745.832125</c:v>
                </c:pt>
                <c:pt idx="379">
                  <c:v>2018.58658333333</c:v>
                </c:pt>
                <c:pt idx="380">
                  <c:v>1857.62129166666</c:v>
                </c:pt>
                <c:pt idx="381">
                  <c:v>2091.56254166666</c:v>
                </c:pt>
                <c:pt idx="382">
                  <c:v>1880.002375</c:v>
                </c:pt>
                <c:pt idx="383">
                  <c:v>2144.029</c:v>
                </c:pt>
                <c:pt idx="384">
                  <c:v>1942.277375</c:v>
                </c:pt>
                <c:pt idx="385">
                  <c:v>2156.90508333333</c:v>
                </c:pt>
                <c:pt idx="386">
                  <c:v>1863.51966666666</c:v>
                </c:pt>
                <c:pt idx="387">
                  <c:v>2113.29420833333</c:v>
                </c:pt>
                <c:pt idx="388">
                  <c:v>1727.41979166666</c:v>
                </c:pt>
                <c:pt idx="389">
                  <c:v>2095.5535</c:v>
                </c:pt>
                <c:pt idx="390">
                  <c:v>1967.71812499999</c:v>
                </c:pt>
                <c:pt idx="391">
                  <c:v>2343.9105</c:v>
                </c:pt>
                <c:pt idx="392">
                  <c:v>2027.19783333333</c:v>
                </c:pt>
                <c:pt idx="393">
                  <c:v>2471.715625</c:v>
                </c:pt>
                <c:pt idx="394">
                  <c:v>2030.91945833333</c:v>
                </c:pt>
                <c:pt idx="395">
                  <c:v>2445.45320833333</c:v>
                </c:pt>
                <c:pt idx="396">
                  <c:v>2128.77466666666</c:v>
                </c:pt>
                <c:pt idx="397">
                  <c:v>2486.29025</c:v>
                </c:pt>
                <c:pt idx="398">
                  <c:v>2153.58625</c:v>
                </c:pt>
                <c:pt idx="399">
                  <c:v>2445.949875</c:v>
                </c:pt>
                <c:pt idx="400">
                  <c:v>1976.46641666666</c:v>
                </c:pt>
                <c:pt idx="401">
                  <c:v>2273.79779166666</c:v>
                </c:pt>
                <c:pt idx="402">
                  <c:v>1887.09054166666</c:v>
                </c:pt>
                <c:pt idx="403">
                  <c:v>2286.27645833333</c:v>
                </c:pt>
                <c:pt idx="404">
                  <c:v>2117.26695833333</c:v>
                </c:pt>
                <c:pt idx="405">
                  <c:v>2382.97833333333</c:v>
                </c:pt>
                <c:pt idx="406">
                  <c:v>2141.53866666666</c:v>
                </c:pt>
                <c:pt idx="407">
                  <c:v>2240.23416666666</c:v>
                </c:pt>
                <c:pt idx="408">
                  <c:v>1878.19175</c:v>
                </c:pt>
                <c:pt idx="409">
                  <c:v>2191.525625</c:v>
                </c:pt>
                <c:pt idx="410">
                  <c:v>1887.74637499999</c:v>
                </c:pt>
                <c:pt idx="411">
                  <c:v>2213.96283333333</c:v>
                </c:pt>
                <c:pt idx="412">
                  <c:v>1996.06308333333</c:v>
                </c:pt>
                <c:pt idx="413">
                  <c:v>2482.76925</c:v>
                </c:pt>
                <c:pt idx="414">
                  <c:v>1897.66616666666</c:v>
                </c:pt>
                <c:pt idx="415">
                  <c:v>2206.1185</c:v>
                </c:pt>
                <c:pt idx="416">
                  <c:v>1751.10304166666</c:v>
                </c:pt>
                <c:pt idx="417">
                  <c:v>2099.307625</c:v>
                </c:pt>
                <c:pt idx="418">
                  <c:v>2000.35366666666</c:v>
                </c:pt>
                <c:pt idx="419">
                  <c:v>2385.59849999999</c:v>
                </c:pt>
                <c:pt idx="420">
                  <c:v>2051.99195833333</c:v>
                </c:pt>
                <c:pt idx="421">
                  <c:v>2307.160125</c:v>
                </c:pt>
                <c:pt idx="422">
                  <c:v>1992.06812499999</c:v>
                </c:pt>
                <c:pt idx="423">
                  <c:v>2272.55004166666</c:v>
                </c:pt>
                <c:pt idx="424">
                  <c:v>2619.61275</c:v>
                </c:pt>
                <c:pt idx="425">
                  <c:v>3135.29141666666</c:v>
                </c:pt>
                <c:pt idx="426">
                  <c:v>2020.72577777777</c:v>
                </c:pt>
                <c:pt idx="427">
                  <c:v>2479.90366666666</c:v>
                </c:pt>
                <c:pt idx="428">
                  <c:v>2173.70583333333</c:v>
                </c:pt>
                <c:pt idx="429">
                  <c:v>2584.78358333333</c:v>
                </c:pt>
                <c:pt idx="430">
                  <c:v>2057.466</c:v>
                </c:pt>
                <c:pt idx="431">
                  <c:v>2659.63975</c:v>
                </c:pt>
                <c:pt idx="432">
                  <c:v>1999.15021428571</c:v>
                </c:pt>
                <c:pt idx="433">
                  <c:v>2072.13229166666</c:v>
                </c:pt>
                <c:pt idx="434">
                  <c:v>1795.002125</c:v>
                </c:pt>
                <c:pt idx="435">
                  <c:v>2046.49437499999</c:v>
                </c:pt>
                <c:pt idx="436">
                  <c:v>2152.072375</c:v>
                </c:pt>
                <c:pt idx="437">
                  <c:v>2471.39079166666</c:v>
                </c:pt>
                <c:pt idx="438">
                  <c:v>1920.27795833333</c:v>
                </c:pt>
                <c:pt idx="439">
                  <c:v>2274.86483333333</c:v>
                </c:pt>
                <c:pt idx="440">
                  <c:v>1595.48858333333</c:v>
                </c:pt>
                <c:pt idx="441">
                  <c:v>1906.04541666666</c:v>
                </c:pt>
                <c:pt idx="442">
                  <c:v>1899.76866666666</c:v>
                </c:pt>
                <c:pt idx="443">
                  <c:v>2168.54474999999</c:v>
                </c:pt>
                <c:pt idx="444">
                  <c:v>1893.92883333333</c:v>
                </c:pt>
                <c:pt idx="445">
                  <c:v>2163.90545833333</c:v>
                </c:pt>
                <c:pt idx="446">
                  <c:v>1709.37475</c:v>
                </c:pt>
                <c:pt idx="447">
                  <c:v>1969.11608333333</c:v>
                </c:pt>
                <c:pt idx="448">
                  <c:v>1981.62925</c:v>
                </c:pt>
                <c:pt idx="449">
                  <c:v>2265.6325</c:v>
                </c:pt>
                <c:pt idx="450">
                  <c:v>2017.86683333333</c:v>
                </c:pt>
                <c:pt idx="451">
                  <c:v>2272.41120833333</c:v>
                </c:pt>
                <c:pt idx="452">
                  <c:v>1957.98008333333</c:v>
                </c:pt>
                <c:pt idx="453">
                  <c:v>2410.05508333333</c:v>
                </c:pt>
                <c:pt idx="454">
                  <c:v>2061.58424999999</c:v>
                </c:pt>
                <c:pt idx="455">
                  <c:v>2334.32591666666</c:v>
                </c:pt>
                <c:pt idx="456">
                  <c:v>1791.68908333333</c:v>
                </c:pt>
                <c:pt idx="457">
                  <c:v>2115.05070833333</c:v>
                </c:pt>
                <c:pt idx="458">
                  <c:v>1725.135625</c:v>
                </c:pt>
                <c:pt idx="459">
                  <c:v>2079.96133333333</c:v>
                </c:pt>
                <c:pt idx="460">
                  <c:v>1869.921375</c:v>
                </c:pt>
                <c:pt idx="461">
                  <c:v>2151.50654166666</c:v>
                </c:pt>
                <c:pt idx="462">
                  <c:v>2009.341125</c:v>
                </c:pt>
                <c:pt idx="463">
                  <c:v>2258.47554166666</c:v>
                </c:pt>
                <c:pt idx="464">
                  <c:v>1953.27870833333</c:v>
                </c:pt>
                <c:pt idx="465">
                  <c:v>2179.17370833333</c:v>
                </c:pt>
                <c:pt idx="466">
                  <c:v>2002.07149999999</c:v>
                </c:pt>
                <c:pt idx="467">
                  <c:v>2190.58120833333</c:v>
                </c:pt>
                <c:pt idx="468">
                  <c:v>2238.64941666666</c:v>
                </c:pt>
                <c:pt idx="469">
                  <c:v>2101.758875</c:v>
                </c:pt>
                <c:pt idx="470">
                  <c:v>1744.84112499999</c:v>
                </c:pt>
                <c:pt idx="471">
                  <c:v>1955.663625</c:v>
                </c:pt>
                <c:pt idx="472">
                  <c:v>1709.34116666666</c:v>
                </c:pt>
                <c:pt idx="473">
                  <c:v>2090.60516666666</c:v>
                </c:pt>
                <c:pt idx="474">
                  <c:v>1930.23291666666</c:v>
                </c:pt>
                <c:pt idx="475">
                  <c:v>2252.14954166666</c:v>
                </c:pt>
                <c:pt idx="476">
                  <c:v>2025.5565</c:v>
                </c:pt>
                <c:pt idx="477">
                  <c:v>2431.169875</c:v>
                </c:pt>
                <c:pt idx="478">
                  <c:v>1985.14395833333</c:v>
                </c:pt>
                <c:pt idx="479">
                  <c:v>2232.04804166666</c:v>
                </c:pt>
                <c:pt idx="480">
                  <c:v>2000.48891666666</c:v>
                </c:pt>
                <c:pt idx="481">
                  <c:v>2244.60945833333</c:v>
                </c:pt>
                <c:pt idx="482">
                  <c:v>1956.49824999999</c:v>
                </c:pt>
                <c:pt idx="483">
                  <c:v>2234.69416666666</c:v>
                </c:pt>
                <c:pt idx="484">
                  <c:v>1764.02116666666</c:v>
                </c:pt>
                <c:pt idx="485">
                  <c:v>1984.90370833333</c:v>
                </c:pt>
                <c:pt idx="486">
                  <c:v>2259.34341666666</c:v>
                </c:pt>
                <c:pt idx="487">
                  <c:v>2360.62929166666</c:v>
                </c:pt>
                <c:pt idx="488">
                  <c:v>1846.40777272727</c:v>
                </c:pt>
                <c:pt idx="489">
                  <c:v>2621.36474999999</c:v>
                </c:pt>
                <c:pt idx="490">
                  <c:v>1922.99563636363</c:v>
                </c:pt>
                <c:pt idx="491">
                  <c:v>2474.15908333333</c:v>
                </c:pt>
                <c:pt idx="492">
                  <c:v>2056.328</c:v>
                </c:pt>
                <c:pt idx="493">
                  <c:v>2567.837625</c:v>
                </c:pt>
                <c:pt idx="494">
                  <c:v>2030.38058333333</c:v>
                </c:pt>
                <c:pt idx="495">
                  <c:v>2019.70716666666</c:v>
                </c:pt>
                <c:pt idx="496">
                  <c:v>1680.81474999999</c:v>
                </c:pt>
                <c:pt idx="497">
                  <c:v>2067.74695833333</c:v>
                </c:pt>
                <c:pt idx="498">
                  <c:v>2076.187375</c:v>
                </c:pt>
                <c:pt idx="499">
                  <c:v>2497.87379166666</c:v>
                </c:pt>
                <c:pt idx="500">
                  <c:v>1934.89733333333</c:v>
                </c:pt>
                <c:pt idx="501">
                  <c:v>2169.93679166666</c:v>
                </c:pt>
                <c:pt idx="502">
                  <c:v>1909.34512499999</c:v>
                </c:pt>
                <c:pt idx="503">
                  <c:v>2149.74941666666</c:v>
                </c:pt>
                <c:pt idx="504">
                  <c:v>1873.66083333333</c:v>
                </c:pt>
                <c:pt idx="505">
                  <c:v>2116.88016666666</c:v>
                </c:pt>
                <c:pt idx="506">
                  <c:v>1699.71541666666</c:v>
                </c:pt>
                <c:pt idx="507">
                  <c:v>2109.264875</c:v>
                </c:pt>
                <c:pt idx="508">
                  <c:v>1848.33954166666</c:v>
                </c:pt>
                <c:pt idx="509">
                  <c:v>2107.09733333333</c:v>
                </c:pt>
                <c:pt idx="510">
                  <c:v>2006.966125</c:v>
                </c:pt>
                <c:pt idx="511">
                  <c:v>2248.763</c:v>
                </c:pt>
                <c:pt idx="512">
                  <c:v>1784.022</c:v>
                </c:pt>
                <c:pt idx="513">
                  <c:v>2240.7225</c:v>
                </c:pt>
                <c:pt idx="514">
                  <c:v>1836.48533333333</c:v>
                </c:pt>
                <c:pt idx="515">
                  <c:v>2042.45633333333</c:v>
                </c:pt>
                <c:pt idx="516">
                  <c:v>2023.13179166666</c:v>
                </c:pt>
                <c:pt idx="517">
                  <c:v>2365.69899999999</c:v>
                </c:pt>
                <c:pt idx="518">
                  <c:v>2014.65874999999</c:v>
                </c:pt>
                <c:pt idx="519">
                  <c:v>2307.14987499999</c:v>
                </c:pt>
                <c:pt idx="520">
                  <c:v>2004.167125</c:v>
                </c:pt>
                <c:pt idx="521">
                  <c:v>2271.43324999999</c:v>
                </c:pt>
                <c:pt idx="522">
                  <c:v>1920.902125</c:v>
                </c:pt>
                <c:pt idx="523">
                  <c:v>2218.104</c:v>
                </c:pt>
                <c:pt idx="524">
                  <c:v>1970.10358333333</c:v>
                </c:pt>
                <c:pt idx="525">
                  <c:v>2213.64704166666</c:v>
                </c:pt>
                <c:pt idx="526">
                  <c:v>1732.70195833333</c:v>
                </c:pt>
                <c:pt idx="527">
                  <c:v>1933.2025</c:v>
                </c:pt>
                <c:pt idx="528">
                  <c:v>1784.03869999999</c:v>
                </c:pt>
                <c:pt idx="529">
                  <c:v>2104.99025</c:v>
                </c:pt>
                <c:pt idx="530">
                  <c:v>1969.7938125</c:v>
                </c:pt>
                <c:pt idx="531">
                  <c:v>2124.48358333333</c:v>
                </c:pt>
                <c:pt idx="532">
                  <c:v>1837.43941666666</c:v>
                </c:pt>
                <c:pt idx="533">
                  <c:v>2198.057625</c:v>
                </c:pt>
                <c:pt idx="534">
                  <c:v>1935.00420833333</c:v>
                </c:pt>
                <c:pt idx="535">
                  <c:v>2156.934375</c:v>
                </c:pt>
                <c:pt idx="536">
                  <c:v>1926.1875</c:v>
                </c:pt>
                <c:pt idx="537">
                  <c:v>2214.951625</c:v>
                </c:pt>
                <c:pt idx="538">
                  <c:v>1951.085125</c:v>
                </c:pt>
                <c:pt idx="539">
                  <c:v>2127.36279166666</c:v>
                </c:pt>
                <c:pt idx="540">
                  <c:v>1725.21108333333</c:v>
                </c:pt>
                <c:pt idx="541">
                  <c:v>1899.99741666666</c:v>
                </c:pt>
                <c:pt idx="542">
                  <c:v>1602.69004166666</c:v>
                </c:pt>
                <c:pt idx="543">
                  <c:v>1989.90491666666</c:v>
                </c:pt>
                <c:pt idx="544">
                  <c:v>1684.19170833333</c:v>
                </c:pt>
                <c:pt idx="545">
                  <c:v>1953.33245833333</c:v>
                </c:pt>
                <c:pt idx="546">
                  <c:v>2007.64449999999</c:v>
                </c:pt>
                <c:pt idx="547">
                  <c:v>2220.78666666666</c:v>
                </c:pt>
                <c:pt idx="548">
                  <c:v>1886.12816666666</c:v>
                </c:pt>
                <c:pt idx="549">
                  <c:v>2790.45141666666</c:v>
                </c:pt>
                <c:pt idx="550">
                  <c:v>1962.53995833333</c:v>
                </c:pt>
                <c:pt idx="551">
                  <c:v>2332.38454166666</c:v>
                </c:pt>
                <c:pt idx="552">
                  <c:v>2132.88175</c:v>
                </c:pt>
                <c:pt idx="553">
                  <c:v>2626.24604166666</c:v>
                </c:pt>
                <c:pt idx="554">
                  <c:v>2052.88066666666</c:v>
                </c:pt>
                <c:pt idx="555">
                  <c:v>1989.07779166666</c:v>
                </c:pt>
                <c:pt idx="556">
                  <c:v>1942.30254166666</c:v>
                </c:pt>
                <c:pt idx="557">
                  <c:v>2247.85679166666</c:v>
                </c:pt>
                <c:pt idx="558">
                  <c:v>2029.94787499999</c:v>
                </c:pt>
                <c:pt idx="559">
                  <c:v>2304.03929166666</c:v>
                </c:pt>
                <c:pt idx="560">
                  <c:v>1755.53504166666</c:v>
                </c:pt>
                <c:pt idx="561">
                  <c:v>2048.38716666666</c:v>
                </c:pt>
                <c:pt idx="562">
                  <c:v>1943.12725</c:v>
                </c:pt>
                <c:pt idx="563">
                  <c:v>2243.94925</c:v>
                </c:pt>
                <c:pt idx="564">
                  <c:v>1881.12570833333</c:v>
                </c:pt>
                <c:pt idx="565">
                  <c:v>2096.140125</c:v>
                </c:pt>
                <c:pt idx="566">
                  <c:v>1722.93383333333</c:v>
                </c:pt>
                <c:pt idx="567">
                  <c:v>2293.70854166666</c:v>
                </c:pt>
                <c:pt idx="568">
                  <c:v>1850.04408333333</c:v>
                </c:pt>
                <c:pt idx="569">
                  <c:v>2374.06416666666</c:v>
                </c:pt>
                <c:pt idx="570">
                  <c:v>1611.22</c:v>
                </c:pt>
                <c:pt idx="571">
                  <c:v>1846.55791666666</c:v>
                </c:pt>
                <c:pt idx="572">
                  <c:v>1799.310375</c:v>
                </c:pt>
                <c:pt idx="573">
                  <c:v>2070.29945833333</c:v>
                </c:pt>
                <c:pt idx="574">
                  <c:v>1832.39116666666</c:v>
                </c:pt>
                <c:pt idx="575">
                  <c:v>2099.49795833333</c:v>
                </c:pt>
                <c:pt idx="576">
                  <c:v>1845.81924999999</c:v>
                </c:pt>
                <c:pt idx="577">
                  <c:v>2042.69916666666</c:v>
                </c:pt>
                <c:pt idx="578">
                  <c:v>1838.79779166666</c:v>
                </c:pt>
                <c:pt idx="579">
                  <c:v>2088.83558333333</c:v>
                </c:pt>
                <c:pt idx="580">
                  <c:v>1883.367125</c:v>
                </c:pt>
                <c:pt idx="581">
                  <c:v>2092.37133333333</c:v>
                </c:pt>
                <c:pt idx="582">
                  <c:v>1741.1715</c:v>
                </c:pt>
                <c:pt idx="583">
                  <c:v>2051.60645833333</c:v>
                </c:pt>
                <c:pt idx="584">
                  <c:v>1642.181625</c:v>
                </c:pt>
                <c:pt idx="585">
                  <c:v>1924.98241666666</c:v>
                </c:pt>
                <c:pt idx="586">
                  <c:v>1831.92758333333</c:v>
                </c:pt>
                <c:pt idx="587">
                  <c:v>2062.153625</c:v>
                </c:pt>
                <c:pt idx="588">
                  <c:v>1844.183375</c:v>
                </c:pt>
                <c:pt idx="589">
                  <c:v>2069.80945833333</c:v>
                </c:pt>
                <c:pt idx="590">
                  <c:v>1826.20020833333</c:v>
                </c:pt>
                <c:pt idx="591">
                  <c:v>2041.88616666666</c:v>
                </c:pt>
                <c:pt idx="592">
                  <c:v>1819.07708333333</c:v>
                </c:pt>
                <c:pt idx="593">
                  <c:v>2089.33404166666</c:v>
                </c:pt>
                <c:pt idx="594">
                  <c:v>1807.22899999999</c:v>
                </c:pt>
                <c:pt idx="595">
                  <c:v>2062.937625</c:v>
                </c:pt>
                <c:pt idx="596">
                  <c:v>1688.17129166666</c:v>
                </c:pt>
                <c:pt idx="597">
                  <c:v>1882.361125</c:v>
                </c:pt>
                <c:pt idx="598">
                  <c:v>1591.99795833333</c:v>
                </c:pt>
                <c:pt idx="599">
                  <c:v>1926.10125</c:v>
                </c:pt>
                <c:pt idx="600">
                  <c:v>1874.92641666666</c:v>
                </c:pt>
                <c:pt idx="601">
                  <c:v>2207.34833333333</c:v>
                </c:pt>
                <c:pt idx="602">
                  <c:v>1911.436125</c:v>
                </c:pt>
                <c:pt idx="603">
                  <c:v>2309.99241666666</c:v>
                </c:pt>
                <c:pt idx="604">
                  <c:v>1934.67541666666</c:v>
                </c:pt>
                <c:pt idx="605">
                  <c:v>2446.97529166666</c:v>
                </c:pt>
                <c:pt idx="606">
                  <c:v>1950.04379166666</c:v>
                </c:pt>
                <c:pt idx="607">
                  <c:v>2245.54358333333</c:v>
                </c:pt>
                <c:pt idx="608">
                  <c:v>2055.88925</c:v>
                </c:pt>
                <c:pt idx="609">
                  <c:v>2244.63725</c:v>
                </c:pt>
                <c:pt idx="610">
                  <c:v>2363.62954166666</c:v>
                </c:pt>
                <c:pt idx="611">
                  <c:v>3211.52324999999</c:v>
                </c:pt>
                <c:pt idx="612">
                  <c:v>2147.26883333333</c:v>
                </c:pt>
                <c:pt idx="613">
                  <c:v>2340.14141666666</c:v>
                </c:pt>
                <c:pt idx="614">
                  <c:v>2180.680125</c:v>
                </c:pt>
                <c:pt idx="615">
                  <c:v>2606.26066666666</c:v>
                </c:pt>
                <c:pt idx="616">
                  <c:v>1593.28204166666</c:v>
                </c:pt>
                <c:pt idx="617">
                  <c:v>1816.42308333333</c:v>
                </c:pt>
                <c:pt idx="618">
                  <c:v>2012.89008333333</c:v>
                </c:pt>
                <c:pt idx="619">
                  <c:v>2323.33687499999</c:v>
                </c:pt>
                <c:pt idx="620">
                  <c:v>2038.519125</c:v>
                </c:pt>
                <c:pt idx="621">
                  <c:v>2540.80845833333</c:v>
                </c:pt>
                <c:pt idx="622">
                  <c:v>1708.62170833333</c:v>
                </c:pt>
                <c:pt idx="623">
                  <c:v>2016.76895833333</c:v>
                </c:pt>
                <c:pt idx="624">
                  <c:v>1949.906625</c:v>
                </c:pt>
                <c:pt idx="625">
                  <c:v>2290.60125</c:v>
                </c:pt>
                <c:pt idx="626">
                  <c:v>1880.72729166666</c:v>
                </c:pt>
                <c:pt idx="627">
                  <c:v>2154.90604166666</c:v>
                </c:pt>
                <c:pt idx="628">
                  <c:v>1956.88375</c:v>
                </c:pt>
                <c:pt idx="629">
                  <c:v>2342.821625</c:v>
                </c:pt>
                <c:pt idx="630">
                  <c:v>2046.51670833333</c:v>
                </c:pt>
                <c:pt idx="631">
                  <c:v>2574.933375</c:v>
                </c:pt>
                <c:pt idx="632">
                  <c:v>1838.41791666666</c:v>
                </c:pt>
                <c:pt idx="633">
                  <c:v>2156.31995833333</c:v>
                </c:pt>
                <c:pt idx="634">
                  <c:v>1879.32187499999</c:v>
                </c:pt>
                <c:pt idx="635">
                  <c:v>2407.23104166666</c:v>
                </c:pt>
                <c:pt idx="636">
                  <c:v>1984.76958333333</c:v>
                </c:pt>
                <c:pt idx="637">
                  <c:v>2474.53420833333</c:v>
                </c:pt>
                <c:pt idx="638">
                  <c:v>1896.93095833333</c:v>
                </c:pt>
                <c:pt idx="639">
                  <c:v>2473.40729166666</c:v>
                </c:pt>
                <c:pt idx="640">
                  <c:v>1830.451625</c:v>
                </c:pt>
                <c:pt idx="641">
                  <c:v>2146.01333333333</c:v>
                </c:pt>
                <c:pt idx="642">
                  <c:v>1967.22974999999</c:v>
                </c:pt>
                <c:pt idx="643">
                  <c:v>2182.494</c:v>
                </c:pt>
                <c:pt idx="644">
                  <c:v>1929.89377777777</c:v>
                </c:pt>
                <c:pt idx="645">
                  <c:v>2045.63636363636</c:v>
                </c:pt>
                <c:pt idx="646">
                  <c:v>1880.09085714285</c:v>
                </c:pt>
                <c:pt idx="647">
                  <c:v>2085.98975</c:v>
                </c:pt>
                <c:pt idx="648">
                  <c:v>2014.6393125</c:v>
                </c:pt>
                <c:pt idx="649">
                  <c:v>2325.59958333333</c:v>
                </c:pt>
                <c:pt idx="650">
                  <c:v>1960.05679166666</c:v>
                </c:pt>
                <c:pt idx="651">
                  <c:v>2341.87466666666</c:v>
                </c:pt>
                <c:pt idx="652">
                  <c:v>1722.6105</c:v>
                </c:pt>
                <c:pt idx="653">
                  <c:v>2026.191375</c:v>
                </c:pt>
                <c:pt idx="654">
                  <c:v>1621.52129166666</c:v>
                </c:pt>
                <c:pt idx="655">
                  <c:v>1833.590125</c:v>
                </c:pt>
                <c:pt idx="656">
                  <c:v>1763.492875</c:v>
                </c:pt>
                <c:pt idx="657">
                  <c:v>2059.60249999999</c:v>
                </c:pt>
                <c:pt idx="658">
                  <c:v>1995.29342857142</c:v>
                </c:pt>
                <c:pt idx="659">
                  <c:v>2089.67854166666</c:v>
                </c:pt>
                <c:pt idx="660">
                  <c:v>1968.56105555555</c:v>
                </c:pt>
                <c:pt idx="661">
                  <c:v>2332.91908333333</c:v>
                </c:pt>
                <c:pt idx="662">
                  <c:v>2027.29349999999</c:v>
                </c:pt>
                <c:pt idx="663">
                  <c:v>2408.96666666666</c:v>
                </c:pt>
                <c:pt idx="664">
                  <c:v>2020.800875</c:v>
                </c:pt>
                <c:pt idx="665">
                  <c:v>2143.77416666666</c:v>
                </c:pt>
                <c:pt idx="666">
                  <c:v>1733.66625</c:v>
                </c:pt>
                <c:pt idx="667">
                  <c:v>1938.42895833333</c:v>
                </c:pt>
                <c:pt idx="668">
                  <c:v>1811.34920833333</c:v>
                </c:pt>
                <c:pt idx="669">
                  <c:v>2407.55220833333</c:v>
                </c:pt>
                <c:pt idx="670">
                  <c:v>2557.52991666666</c:v>
                </c:pt>
                <c:pt idx="671">
                  <c:v>3343.20679166666</c:v>
                </c:pt>
                <c:pt idx="672">
                  <c:v>1855.55504166666</c:v>
                </c:pt>
                <c:pt idx="673">
                  <c:v>2107.13554166666</c:v>
                </c:pt>
                <c:pt idx="674">
                  <c:v>2148.76162499999</c:v>
                </c:pt>
                <c:pt idx="675">
                  <c:v>2362.40445833333</c:v>
                </c:pt>
                <c:pt idx="676">
                  <c:v>1645.9033</c:v>
                </c:pt>
                <c:pt idx="677">
                  <c:v>1852.95022727272</c:v>
                </c:pt>
                <c:pt idx="678">
                  <c:v>2100.81445</c:v>
                </c:pt>
                <c:pt idx="679">
                  <c:v>2257.85349999999</c:v>
                </c:pt>
                <c:pt idx="680">
                  <c:v>2056.586625</c:v>
                </c:pt>
                <c:pt idx="681">
                  <c:v>2275.60616666666</c:v>
                </c:pt>
                <c:pt idx="682">
                  <c:v>1961.332875</c:v>
                </c:pt>
                <c:pt idx="683">
                  <c:v>2277.71670833333</c:v>
                </c:pt>
                <c:pt idx="684">
                  <c:v>1943.82499999999</c:v>
                </c:pt>
                <c:pt idx="685">
                  <c:v>2235.05154166666</c:v>
                </c:pt>
                <c:pt idx="686">
                  <c:v>1723.949625</c:v>
                </c:pt>
                <c:pt idx="687">
                  <c:v>1901.24691666666</c:v>
                </c:pt>
                <c:pt idx="688">
                  <c:v>1893.21308333333</c:v>
                </c:pt>
                <c:pt idx="689">
                  <c:v>2235.23520833333</c:v>
                </c:pt>
                <c:pt idx="690">
                  <c:v>2172.78420833333</c:v>
                </c:pt>
                <c:pt idx="691">
                  <c:v>2876.38424999999</c:v>
                </c:pt>
                <c:pt idx="692">
                  <c:v>2270.68025</c:v>
                </c:pt>
                <c:pt idx="693">
                  <c:v>3024.13345833333</c:v>
                </c:pt>
                <c:pt idx="694">
                  <c:v>2140.97379166666</c:v>
                </c:pt>
                <c:pt idx="695">
                  <c:v>2883.38633333333</c:v>
                </c:pt>
                <c:pt idx="696">
                  <c:v>2117.80129166666</c:v>
                </c:pt>
                <c:pt idx="697">
                  <c:v>2926.39679166666</c:v>
                </c:pt>
                <c:pt idx="698">
                  <c:v>2367.222625</c:v>
                </c:pt>
                <c:pt idx="699">
                  <c:v>3195.300125</c:v>
                </c:pt>
                <c:pt idx="700">
                  <c:v>2338.93441666666</c:v>
                </c:pt>
                <c:pt idx="701">
                  <c:v>2643.50179166666</c:v>
                </c:pt>
                <c:pt idx="702">
                  <c:v>2096.20741666666</c:v>
                </c:pt>
                <c:pt idx="703">
                  <c:v>2410.14495833333</c:v>
                </c:pt>
                <c:pt idx="704">
                  <c:v>2059.38004166666</c:v>
                </c:pt>
                <c:pt idx="705">
                  <c:v>2394.10775</c:v>
                </c:pt>
                <c:pt idx="706">
                  <c:v>1972.16495833333</c:v>
                </c:pt>
                <c:pt idx="707">
                  <c:v>2230.0865</c:v>
                </c:pt>
                <c:pt idx="708">
                  <c:v>1787.87870833333</c:v>
                </c:pt>
                <c:pt idx="709">
                  <c:v>1997.304125</c:v>
                </c:pt>
                <c:pt idx="710">
                  <c:v>1729.95091666666</c:v>
                </c:pt>
                <c:pt idx="711">
                  <c:v>2047.0395</c:v>
                </c:pt>
                <c:pt idx="712">
                  <c:v>1953.64370833333</c:v>
                </c:pt>
                <c:pt idx="713">
                  <c:v>2451.742875</c:v>
                </c:pt>
                <c:pt idx="714">
                  <c:v>1992.57287499999</c:v>
                </c:pt>
                <c:pt idx="715">
                  <c:v>2288.72925</c:v>
                </c:pt>
                <c:pt idx="716">
                  <c:v>1741.06274999999</c:v>
                </c:pt>
                <c:pt idx="717">
                  <c:v>1948.48549999999</c:v>
                </c:pt>
                <c:pt idx="718">
                  <c:v>1686.002375</c:v>
                </c:pt>
                <c:pt idx="719">
                  <c:v>2049.07045833333</c:v>
                </c:pt>
                <c:pt idx="720">
                  <c:v>1898.97333333333</c:v>
                </c:pt>
                <c:pt idx="721">
                  <c:v>2160.010125</c:v>
                </c:pt>
                <c:pt idx="722">
                  <c:v>1749.87186363636</c:v>
                </c:pt>
                <c:pt idx="723">
                  <c:v>2125.454375</c:v>
                </c:pt>
                <c:pt idx="724">
                  <c:v>1779.80779166666</c:v>
                </c:pt>
                <c:pt idx="725">
                  <c:v>2286.21641666666</c:v>
                </c:pt>
                <c:pt idx="726">
                  <c:v>1982.47729166666</c:v>
                </c:pt>
                <c:pt idx="727">
                  <c:v>2385.11704166666</c:v>
                </c:pt>
                <c:pt idx="728">
                  <c:v>1959.64729166666</c:v>
                </c:pt>
                <c:pt idx="729">
                  <c:v>2134.082</c:v>
                </c:pt>
                <c:pt idx="730">
                  <c:v>2814.71056061249</c:v>
                </c:pt>
                <c:pt idx="731">
                  <c:v>2820.15931286666</c:v>
                </c:pt>
                <c:pt idx="732">
                  <c:v>2147.35322332916</c:v>
                </c:pt>
                <c:pt idx="733">
                  <c:v>2545.31080693749</c:v>
                </c:pt>
                <c:pt idx="734">
                  <c:v>2222.41361932083</c:v>
                </c:pt>
                <c:pt idx="735">
                  <c:v>2257.31580077083</c:v>
                </c:pt>
                <c:pt idx="736">
                  <c:v>2032.198344465</c:v>
                </c:pt>
                <c:pt idx="737">
                  <c:v>2117.81630373749</c:v>
                </c:pt>
                <c:pt idx="738">
                  <c:v>1881.95001756666</c:v>
                </c:pt>
                <c:pt idx="739">
                  <c:v>2576.3438875909</c:v>
                </c:pt>
                <c:pt idx="740">
                  <c:v>2044.66478628499</c:v>
                </c:pt>
                <c:pt idx="741">
                  <c:v>2868.95631827083</c:v>
                </c:pt>
                <c:pt idx="742">
                  <c:v>2472.63340119583</c:v>
                </c:pt>
                <c:pt idx="743">
                  <c:v>3299.93935807082</c:v>
                </c:pt>
                <c:pt idx="744">
                  <c:v>2786.54759980833</c:v>
                </c:pt>
                <c:pt idx="745">
                  <c:v>3225.75177465416</c:v>
                </c:pt>
                <c:pt idx="746">
                  <c:v>2425.13607565416</c:v>
                </c:pt>
                <c:pt idx="747">
                  <c:v>2401.80581213333</c:v>
                </c:pt>
                <c:pt idx="748">
                  <c:v>2113.51254007999</c:v>
                </c:pt>
                <c:pt idx="749">
                  <c:v>2433.34801681666</c:v>
                </c:pt>
                <c:pt idx="750">
                  <c:v>2189.04389973124</c:v>
                </c:pt>
                <c:pt idx="751">
                  <c:v>2483.56573400833</c:v>
                </c:pt>
                <c:pt idx="752">
                  <c:v>1896.02434736666</c:v>
                </c:pt>
                <c:pt idx="753">
                  <c:v>2615.87353828749</c:v>
                </c:pt>
                <c:pt idx="754">
                  <c:v>1992.70477325416</c:v>
                </c:pt>
                <c:pt idx="755">
                  <c:v>2387.78804649166</c:v>
                </c:pt>
                <c:pt idx="756">
                  <c:v>2358.34048073333</c:v>
                </c:pt>
                <c:pt idx="757">
                  <c:v>3340.70503213333</c:v>
                </c:pt>
                <c:pt idx="758">
                  <c:v>2842.30930603749</c:v>
                </c:pt>
                <c:pt idx="759">
                  <c:v>3250.48740351666</c:v>
                </c:pt>
                <c:pt idx="760">
                  <c:v>2453.19611417083</c:v>
                </c:pt>
                <c:pt idx="761">
                  <c:v>2536.47507369166</c:v>
                </c:pt>
                <c:pt idx="762">
                  <c:v>1958.74035935833</c:v>
                </c:pt>
                <c:pt idx="763">
                  <c:v>2217.73773232083</c:v>
                </c:pt>
                <c:pt idx="764">
                  <c:v>2035.5217133875</c:v>
                </c:pt>
                <c:pt idx="765">
                  <c:v>2450.34808518749</c:v>
                </c:pt>
                <c:pt idx="766">
                  <c:v>1864.60226387142</c:v>
                </c:pt>
                <c:pt idx="767">
                  <c:v>2278.12954959166</c:v>
                </c:pt>
                <c:pt idx="768">
                  <c:v>1924.96055511666</c:v>
                </c:pt>
                <c:pt idx="769">
                  <c:v>2560.87504462499</c:v>
                </c:pt>
                <c:pt idx="770">
                  <c:v>2127.80860193749</c:v>
                </c:pt>
                <c:pt idx="771">
                  <c:v>2746.12960724166</c:v>
                </c:pt>
                <c:pt idx="772">
                  <c:v>2140.08643421666</c:v>
                </c:pt>
                <c:pt idx="773">
                  <c:v>2651.12790911666</c:v>
                </c:pt>
                <c:pt idx="774">
                  <c:v>2198.89090385833</c:v>
                </c:pt>
                <c:pt idx="775">
                  <c:v>2598.18044052499</c:v>
                </c:pt>
                <c:pt idx="776">
                  <c:v>2166.82057000909</c:v>
                </c:pt>
                <c:pt idx="777">
                  <c:v>2420.47367987499</c:v>
                </c:pt>
                <c:pt idx="778">
                  <c:v>2104.84238782916</c:v>
                </c:pt>
                <c:pt idx="779">
                  <c:v>2301.04937818333</c:v>
                </c:pt>
                <c:pt idx="780">
                  <c:v>2010.89693983749</c:v>
                </c:pt>
                <c:pt idx="781">
                  <c:v>2440.12868815833</c:v>
                </c:pt>
                <c:pt idx="782">
                  <c:v>1872.78887220833</c:v>
                </c:pt>
                <c:pt idx="783">
                  <c:v>2702.88436777499</c:v>
                </c:pt>
                <c:pt idx="784">
                  <c:v>1862.09098722916</c:v>
                </c:pt>
                <c:pt idx="785">
                  <c:v>2301.83071518749</c:v>
                </c:pt>
                <c:pt idx="786">
                  <c:v>2141.21007044999</c:v>
                </c:pt>
                <c:pt idx="787">
                  <c:v>2542.9754542625</c:v>
                </c:pt>
                <c:pt idx="788">
                  <c:v>2141.67581525416</c:v>
                </c:pt>
                <c:pt idx="789">
                  <c:v>2821.58528162499</c:v>
                </c:pt>
                <c:pt idx="790">
                  <c:v>2121.26779792499</c:v>
                </c:pt>
                <c:pt idx="791">
                  <c:v>2725.263198175</c:v>
                </c:pt>
                <c:pt idx="792">
                  <c:v>2168.78318259166</c:v>
                </c:pt>
                <c:pt idx="793">
                  <c:v>2961.58987294583</c:v>
                </c:pt>
                <c:pt idx="794">
                  <c:v>2059.64344003749</c:v>
                </c:pt>
                <c:pt idx="795">
                  <c:v>2915.94190402499</c:v>
                </c:pt>
                <c:pt idx="796">
                  <c:v>2074.95073742916</c:v>
                </c:pt>
                <c:pt idx="797">
                  <c:v>2840.13885584583</c:v>
                </c:pt>
                <c:pt idx="798">
                  <c:v>2336.18643418333</c:v>
                </c:pt>
                <c:pt idx="799">
                  <c:v>2795.98233786666</c:v>
                </c:pt>
                <c:pt idx="800">
                  <c:v>2203.74438463749</c:v>
                </c:pt>
                <c:pt idx="801">
                  <c:v>2514.44008511249</c:v>
                </c:pt>
                <c:pt idx="802">
                  <c:v>2254.8362323375</c:v>
                </c:pt>
                <c:pt idx="803">
                  <c:v>2369.59483633749</c:v>
                </c:pt>
                <c:pt idx="804">
                  <c:v>1974.18200617916</c:v>
                </c:pt>
                <c:pt idx="805">
                  <c:v>2271.77918661666</c:v>
                </c:pt>
                <c:pt idx="806">
                  <c:v>2014.21608298333</c:v>
                </c:pt>
                <c:pt idx="807">
                  <c:v>2596.57019364583</c:v>
                </c:pt>
                <c:pt idx="808">
                  <c:v>1867.48156763636</c:v>
                </c:pt>
                <c:pt idx="809">
                  <c:v>2828.97753461666</c:v>
                </c:pt>
                <c:pt idx="810">
                  <c:v>1994.44383664999</c:v>
                </c:pt>
                <c:pt idx="811">
                  <c:v>2926.170895525</c:v>
                </c:pt>
                <c:pt idx="812">
                  <c:v>2554.61786272916</c:v>
                </c:pt>
                <c:pt idx="813">
                  <c:v>3236.48692375416</c:v>
                </c:pt>
                <c:pt idx="814">
                  <c:v>2762.51570894166</c:v>
                </c:pt>
                <c:pt idx="815">
                  <c:v>3531.53172879999</c:v>
                </c:pt>
                <c:pt idx="816">
                  <c:v>2745.1802333625</c:v>
                </c:pt>
                <c:pt idx="817">
                  <c:v>3355.45093190833</c:v>
                </c:pt>
                <c:pt idx="818">
                  <c:v>2603.79767195833</c:v>
                </c:pt>
                <c:pt idx="819">
                  <c:v>2861.99604596249</c:v>
                </c:pt>
                <c:pt idx="820">
                  <c:v>2363.62176253333</c:v>
                </c:pt>
                <c:pt idx="821">
                  <c:v>2935.94801116249</c:v>
                </c:pt>
                <c:pt idx="822">
                  <c:v>2179.31915654583</c:v>
                </c:pt>
                <c:pt idx="823">
                  <c:v>2726.05105495833</c:v>
                </c:pt>
                <c:pt idx="824">
                  <c:v>1942.26215114166</c:v>
                </c:pt>
                <c:pt idx="825">
                  <c:v>2233.64032900416</c:v>
                </c:pt>
                <c:pt idx="826">
                  <c:v>2017.22579053999</c:v>
                </c:pt>
                <c:pt idx="827">
                  <c:v>2359.11992098749</c:v>
                </c:pt>
                <c:pt idx="828">
                  <c:v>2334.552627825</c:v>
                </c:pt>
                <c:pt idx="829">
                  <c:v>2805.62813153333</c:v>
                </c:pt>
                <c:pt idx="830">
                  <c:v>2303.46946227499</c:v>
                </c:pt>
                <c:pt idx="831">
                  <c:v>3590.68286271666</c:v>
                </c:pt>
                <c:pt idx="832">
                  <c:v>2704.16494664583</c:v>
                </c:pt>
                <c:pt idx="833">
                  <c:v>3365.87835465833</c:v>
                </c:pt>
                <c:pt idx="834">
                  <c:v>2625.098670575</c:v>
                </c:pt>
                <c:pt idx="835">
                  <c:v>2556.60953337916</c:v>
                </c:pt>
                <c:pt idx="836">
                  <c:v>1823.06963277499</c:v>
                </c:pt>
                <c:pt idx="837">
                  <c:v>2037.72301650416</c:v>
                </c:pt>
                <c:pt idx="838">
                  <c:v>1722.88964645416</c:v>
                </c:pt>
                <c:pt idx="839">
                  <c:v>2063.51221467083</c:v>
                </c:pt>
                <c:pt idx="840">
                  <c:v>2069.90342163749</c:v>
                </c:pt>
                <c:pt idx="841">
                  <c:v>2923.37536639583</c:v>
                </c:pt>
                <c:pt idx="842">
                  <c:v>2277.06112171666</c:v>
                </c:pt>
                <c:pt idx="843">
                  <c:v>3388.07088610416</c:v>
                </c:pt>
                <c:pt idx="844">
                  <c:v>2553.06626393333</c:v>
                </c:pt>
                <c:pt idx="845">
                  <c:v>3123.83531760833</c:v>
                </c:pt>
                <c:pt idx="846">
                  <c:v>2302.39365102916</c:v>
                </c:pt>
                <c:pt idx="847">
                  <c:v>2913.65439857083</c:v>
                </c:pt>
                <c:pt idx="848">
                  <c:v>2279.91755246666</c:v>
                </c:pt>
                <c:pt idx="849">
                  <c:v>2813.42379732083</c:v>
                </c:pt>
                <c:pt idx="850">
                  <c:v>1968.99549426666</c:v>
                </c:pt>
                <c:pt idx="851">
                  <c:v>2389.08068954583</c:v>
                </c:pt>
                <c:pt idx="852">
                  <c:v>1789.86981436666</c:v>
                </c:pt>
                <c:pt idx="853">
                  <c:v>2359.71809166666</c:v>
                </c:pt>
                <c:pt idx="854">
                  <c:v>2029.43887392916</c:v>
                </c:pt>
                <c:pt idx="855">
                  <c:v>2184.91036500416</c:v>
                </c:pt>
                <c:pt idx="856">
                  <c:v>2196.38929249999</c:v>
                </c:pt>
                <c:pt idx="857">
                  <c:v>2432.6821969625</c:v>
                </c:pt>
                <c:pt idx="858">
                  <c:v>2011.3950495611</c:v>
                </c:pt>
                <c:pt idx="859">
                  <c:v>2633.60152889999</c:v>
                </c:pt>
                <c:pt idx="860">
                  <c:v>2200.42334230999</c:v>
                </c:pt>
                <c:pt idx="861">
                  <c:v>2618.30276229166</c:v>
                </c:pt>
                <c:pt idx="862">
                  <c:v>2180.19969812777</c:v>
                </c:pt>
                <c:pt idx="863">
                  <c:v>2672.35888205833</c:v>
                </c:pt>
                <c:pt idx="864">
                  <c:v>2004.50642997272</c:v>
                </c:pt>
                <c:pt idx="865">
                  <c:v>2614.99270772499</c:v>
                </c:pt>
                <c:pt idx="866">
                  <c:v>2097.69024651666</c:v>
                </c:pt>
                <c:pt idx="867">
                  <c:v>2409.26478085</c:v>
                </c:pt>
                <c:pt idx="868">
                  <c:v>2208.217814475</c:v>
                </c:pt>
                <c:pt idx="869">
                  <c:v>2481.62320262916</c:v>
                </c:pt>
                <c:pt idx="870">
                  <c:v>1865.75145596249</c:v>
                </c:pt>
                <c:pt idx="871">
                  <c:v>2161.97609665416</c:v>
                </c:pt>
                <c:pt idx="872">
                  <c:v>2059.15771088636</c:v>
                </c:pt>
                <c:pt idx="873">
                  <c:v>2244.5299330875</c:v>
                </c:pt>
                <c:pt idx="874">
                  <c:v>2290.24188112499</c:v>
                </c:pt>
                <c:pt idx="875">
                  <c:v>2529.39868423636</c:v>
                </c:pt>
                <c:pt idx="876">
                  <c:v>2028.51025856499</c:v>
                </c:pt>
                <c:pt idx="877">
                  <c:v>2377.94035089583</c:v>
                </c:pt>
                <c:pt idx="878">
                  <c:v>1952.47576309285</c:v>
                </c:pt>
                <c:pt idx="879">
                  <c:v>2220.32956598333</c:v>
                </c:pt>
                <c:pt idx="880">
                  <c:v>1874.495276325</c:v>
                </c:pt>
                <c:pt idx="881">
                  <c:v>2408.17169789583</c:v>
                </c:pt>
                <c:pt idx="882">
                  <c:v>2348.21878462916</c:v>
                </c:pt>
                <c:pt idx="883">
                  <c:v>2781.20463690833</c:v>
                </c:pt>
                <c:pt idx="884">
                  <c:v>2134.74722752916</c:v>
                </c:pt>
                <c:pt idx="885">
                  <c:v>2486.23440251249</c:v>
                </c:pt>
                <c:pt idx="886">
                  <c:v>2081.84658582083</c:v>
                </c:pt>
                <c:pt idx="887">
                  <c:v>2492.72925173333</c:v>
                </c:pt>
                <c:pt idx="888">
                  <c:v>2041.29118140454</c:v>
                </c:pt>
                <c:pt idx="889">
                  <c:v>2261.45394519583</c:v>
                </c:pt>
                <c:pt idx="890">
                  <c:v>2236.38152621666</c:v>
                </c:pt>
                <c:pt idx="891">
                  <c:v>2294.40263804583</c:v>
                </c:pt>
                <c:pt idx="892">
                  <c:v>1918.97782055624</c:v>
                </c:pt>
                <c:pt idx="893">
                  <c:v>2049.31759405499</c:v>
                </c:pt>
                <c:pt idx="894">
                  <c:v>1942.20351675</c:v>
                </c:pt>
                <c:pt idx="895">
                  <c:v>2079.32206120454</c:v>
                </c:pt>
                <c:pt idx="896">
                  <c:v>2228.21130526874</c:v>
                </c:pt>
                <c:pt idx="897">
                  <c:v>2356.69795023749</c:v>
                </c:pt>
                <c:pt idx="898">
                  <c:v>2131.21126283571</c:v>
                </c:pt>
                <c:pt idx="899">
                  <c:v>2234.20208547499</c:v>
                </c:pt>
                <c:pt idx="900">
                  <c:v>1989.22527337499</c:v>
                </c:pt>
                <c:pt idx="901">
                  <c:v>2125.41467228749</c:v>
                </c:pt>
                <c:pt idx="902">
                  <c:v>2170.77188193332</c:v>
                </c:pt>
                <c:pt idx="903">
                  <c:v>2196.29722014444</c:v>
                </c:pt>
                <c:pt idx="904">
                  <c:v>1865.2321135875</c:v>
                </c:pt>
                <c:pt idx="905">
                  <c:v>1895.44555601666</c:v>
                </c:pt>
                <c:pt idx="906">
                  <c:v>1872.26388838999</c:v>
                </c:pt>
                <c:pt idx="907">
                  <c:v>2022.95829487777</c:v>
                </c:pt>
                <c:pt idx="908">
                  <c:v>1790.18647413333</c:v>
                </c:pt>
                <c:pt idx="909">
                  <c:v>2015.71379709999</c:v>
                </c:pt>
                <c:pt idx="910">
                  <c:v>2113.80004124999</c:v>
                </c:pt>
                <c:pt idx="911">
                  <c:v>2426.57113838636</c:v>
                </c:pt>
                <c:pt idx="912">
                  <c:v>2448.2077286</c:v>
                </c:pt>
                <c:pt idx="913">
                  <c:v>2647.56383217499</c:v>
                </c:pt>
                <c:pt idx="914">
                  <c:v>2236.15374529583</c:v>
                </c:pt>
                <c:pt idx="915">
                  <c:v>2960.33682387499</c:v>
                </c:pt>
                <c:pt idx="916">
                  <c:v>2407.52970753749</c:v>
                </c:pt>
                <c:pt idx="917">
                  <c:v>3090.43496979999</c:v>
                </c:pt>
                <c:pt idx="918">
                  <c:v>2288.51965049999</c:v>
                </c:pt>
                <c:pt idx="919">
                  <c:v>2693.87588989999</c:v>
                </c:pt>
                <c:pt idx="920">
                  <c:v>2206.79499926428</c:v>
                </c:pt>
                <c:pt idx="921">
                  <c:v>2365.86784169166</c:v>
                </c:pt>
                <c:pt idx="922">
                  <c:v>2131.56174233333</c:v>
                </c:pt>
                <c:pt idx="923">
                  <c:v>2359.29766423333</c:v>
                </c:pt>
                <c:pt idx="924">
                  <c:v>2337.95007038333</c:v>
                </c:pt>
                <c:pt idx="925">
                  <c:v>2912.48334225416</c:v>
                </c:pt>
                <c:pt idx="926">
                  <c:v>2295.36409883333</c:v>
                </c:pt>
                <c:pt idx="927">
                  <c:v>2958.72622309583</c:v>
                </c:pt>
                <c:pt idx="928">
                  <c:v>2372.27891527083</c:v>
                </c:pt>
                <c:pt idx="929">
                  <c:v>2944.16650499166</c:v>
                </c:pt>
                <c:pt idx="930">
                  <c:v>2434.25459832916</c:v>
                </c:pt>
                <c:pt idx="931">
                  <c:v>2856.51360130416</c:v>
                </c:pt>
                <c:pt idx="932">
                  <c:v>2476.64930895833</c:v>
                </c:pt>
                <c:pt idx="933">
                  <c:v>2751.03329430833</c:v>
                </c:pt>
                <c:pt idx="934">
                  <c:v>2073.36106070416</c:v>
                </c:pt>
                <c:pt idx="935">
                  <c:v>2334.16484004166</c:v>
                </c:pt>
                <c:pt idx="936">
                  <c:v>2055.77501047916</c:v>
                </c:pt>
                <c:pt idx="937">
                  <c:v>2477.56675785416</c:v>
                </c:pt>
                <c:pt idx="938">
                  <c:v>2201.84284489583</c:v>
                </c:pt>
                <c:pt idx="939">
                  <c:v>2783.74589444583</c:v>
                </c:pt>
                <c:pt idx="940">
                  <c:v>2191.43477437916</c:v>
                </c:pt>
                <c:pt idx="941">
                  <c:v>2736.84446977916</c:v>
                </c:pt>
                <c:pt idx="942">
                  <c:v>2292.4584675375</c:v>
                </c:pt>
                <c:pt idx="943">
                  <c:v>2600.28185396249</c:v>
                </c:pt>
                <c:pt idx="944">
                  <c:v>2238.15946172916</c:v>
                </c:pt>
                <c:pt idx="945">
                  <c:v>2570.20604453333</c:v>
                </c:pt>
                <c:pt idx="946">
                  <c:v>2178.1450835375</c:v>
                </c:pt>
                <c:pt idx="947">
                  <c:v>2458.40684033333</c:v>
                </c:pt>
                <c:pt idx="948">
                  <c:v>1947.36504725416</c:v>
                </c:pt>
                <c:pt idx="949">
                  <c:v>2177.58416894166</c:v>
                </c:pt>
                <c:pt idx="950">
                  <c:v>1923.60790184999</c:v>
                </c:pt>
                <c:pt idx="951">
                  <c:v>2084.32683278749</c:v>
                </c:pt>
                <c:pt idx="952">
                  <c:v>2178.30106846249</c:v>
                </c:pt>
                <c:pt idx="953">
                  <c:v>2342.10357590416</c:v>
                </c:pt>
                <c:pt idx="954">
                  <c:v>1986.81198182083</c:v>
                </c:pt>
                <c:pt idx="955">
                  <c:v>2492.27483820416</c:v>
                </c:pt>
                <c:pt idx="956">
                  <c:v>2011.5389245375</c:v>
                </c:pt>
                <c:pt idx="957">
                  <c:v>2541.34914761666</c:v>
                </c:pt>
                <c:pt idx="958">
                  <c:v>1869.39257215833</c:v>
                </c:pt>
                <c:pt idx="959">
                  <c:v>2113.91666956249</c:v>
                </c:pt>
                <c:pt idx="960">
                  <c:v>2041.38881328749</c:v>
                </c:pt>
                <c:pt idx="961">
                  <c:v>2392.579391925</c:v>
                </c:pt>
                <c:pt idx="962">
                  <c:v>1847.62060247499</c:v>
                </c:pt>
                <c:pt idx="963">
                  <c:v>2103.77992917916</c:v>
                </c:pt>
                <c:pt idx="964">
                  <c:v>1684.32359953749</c:v>
                </c:pt>
                <c:pt idx="965">
                  <c:v>2057.46721011249</c:v>
                </c:pt>
                <c:pt idx="966">
                  <c:v>2173.15311442777</c:v>
                </c:pt>
                <c:pt idx="967">
                  <c:v>2380.51477885833</c:v>
                </c:pt>
                <c:pt idx="968">
                  <c:v>2278.77729557142</c:v>
                </c:pt>
                <c:pt idx="969">
                  <c:v>2434.34051283333</c:v>
                </c:pt>
                <c:pt idx="970">
                  <c:v>2006.54166748749</c:v>
                </c:pt>
                <c:pt idx="971">
                  <c:v>2714.09375346363</c:v>
                </c:pt>
                <c:pt idx="972">
                  <c:v>2391.99487152856</c:v>
                </c:pt>
                <c:pt idx="973">
                  <c:v>2329.30390846249</c:v>
                </c:pt>
                <c:pt idx="974">
                  <c:v>2077.12188125416</c:v>
                </c:pt>
                <c:pt idx="975">
                  <c:v>2290.59479341249</c:v>
                </c:pt>
                <c:pt idx="976">
                  <c:v>1952.59763563333</c:v>
                </c:pt>
                <c:pt idx="977">
                  <c:v>2205.24212863181</c:v>
                </c:pt>
                <c:pt idx="978">
                  <c:v>1820.63976945833</c:v>
                </c:pt>
                <c:pt idx="979">
                  <c:v>1949.23769951249</c:v>
                </c:pt>
                <c:pt idx="980">
                  <c:v>2011.55883220416</c:v>
                </c:pt>
                <c:pt idx="981">
                  <c:v>2407.88198317916</c:v>
                </c:pt>
                <c:pt idx="982">
                  <c:v>2108.08782394583</c:v>
                </c:pt>
                <c:pt idx="983">
                  <c:v>2425.39412295499</c:v>
                </c:pt>
                <c:pt idx="984">
                  <c:v>2276.46518832856</c:v>
                </c:pt>
                <c:pt idx="985">
                  <c:v>2385.30813872083</c:v>
                </c:pt>
                <c:pt idx="986">
                  <c:v>2207.360218075</c:v>
                </c:pt>
                <c:pt idx="987">
                  <c:v>2288.46633734999</c:v>
                </c:pt>
                <c:pt idx="988">
                  <c:v>2266.71607263332</c:v>
                </c:pt>
                <c:pt idx="989">
                  <c:v>2149.35112367916</c:v>
                </c:pt>
                <c:pt idx="990">
                  <c:v>1762.31032626666</c:v>
                </c:pt>
                <c:pt idx="991">
                  <c:v>2091.57613969166</c:v>
                </c:pt>
                <c:pt idx="992">
                  <c:v>1767.72164552999</c:v>
                </c:pt>
                <c:pt idx="993">
                  <c:v>2194.28493473636</c:v>
                </c:pt>
                <c:pt idx="994">
                  <c:v>2256.88436185625</c:v>
                </c:pt>
                <c:pt idx="995">
                  <c:v>2440.14073657499</c:v>
                </c:pt>
                <c:pt idx="996">
                  <c:v>2054.22606792083</c:v>
                </c:pt>
                <c:pt idx="997">
                  <c:v>2363.76514612916</c:v>
                </c:pt>
                <c:pt idx="998">
                  <c:v>2197.86958653333</c:v>
                </c:pt>
                <c:pt idx="999">
                  <c:v>2418.22528569166</c:v>
                </c:pt>
                <c:pt idx="1000">
                  <c:v>2219.37749874375</c:v>
                </c:pt>
                <c:pt idx="1001">
                  <c:v>2426.06493250416</c:v>
                </c:pt>
                <c:pt idx="1002">
                  <c:v>2061.16806469545</c:v>
                </c:pt>
                <c:pt idx="1003">
                  <c:v>2398.41838712082</c:v>
                </c:pt>
                <c:pt idx="1004">
                  <c:v>1932.51914848181</c:v>
                </c:pt>
                <c:pt idx="1005">
                  <c:v>2209.34832387499</c:v>
                </c:pt>
                <c:pt idx="1006">
                  <c:v>1804.00476310833</c:v>
                </c:pt>
                <c:pt idx="1007">
                  <c:v>2239.49969497916</c:v>
                </c:pt>
                <c:pt idx="1008">
                  <c:v>2215.29093857083</c:v>
                </c:pt>
                <c:pt idx="1009">
                  <c:v>2526.59553517499</c:v>
                </c:pt>
                <c:pt idx="1010">
                  <c:v>2102.52460243749</c:v>
                </c:pt>
                <c:pt idx="1011">
                  <c:v>2350.89282996666</c:v>
                </c:pt>
                <c:pt idx="1012">
                  <c:v>2121.10599868333</c:v>
                </c:pt>
                <c:pt idx="1013">
                  <c:v>2473.74528315416</c:v>
                </c:pt>
                <c:pt idx="1014">
                  <c:v>2153.70028237916</c:v>
                </c:pt>
                <c:pt idx="1015">
                  <c:v>2502.30102683749</c:v>
                </c:pt>
                <c:pt idx="1016">
                  <c:v>2305.66938036666</c:v>
                </c:pt>
                <c:pt idx="1017">
                  <c:v>2412.18841455833</c:v>
                </c:pt>
                <c:pt idx="1018">
                  <c:v>2151.88979252856</c:v>
                </c:pt>
                <c:pt idx="1019">
                  <c:v>2256.65196733333</c:v>
                </c:pt>
                <c:pt idx="1020">
                  <c:v>1836.86610517083</c:v>
                </c:pt>
                <c:pt idx="1021">
                  <c:v>2239.72972452916</c:v>
                </c:pt>
                <c:pt idx="1022">
                  <c:v>2140.23545285416</c:v>
                </c:pt>
                <c:pt idx="1023">
                  <c:v>2506.31522427499</c:v>
                </c:pt>
                <c:pt idx="1024">
                  <c:v>2137.79232708749</c:v>
                </c:pt>
                <c:pt idx="1025">
                  <c:v>2460.35066638749</c:v>
                </c:pt>
                <c:pt idx="1026">
                  <c:v>2122.52029683749</c:v>
                </c:pt>
                <c:pt idx="1027">
                  <c:v>2413.45041492916</c:v>
                </c:pt>
                <c:pt idx="1028">
                  <c:v>2454.07824988888</c:v>
                </c:pt>
                <c:pt idx="1029">
                  <c:v>2702.18220306666</c:v>
                </c:pt>
                <c:pt idx="1030">
                  <c:v>2678.75846780624</c:v>
                </c:pt>
                <c:pt idx="1031">
                  <c:v>2736.04157223181</c:v>
                </c:pt>
                <c:pt idx="1032">
                  <c:v>2425.22621506999</c:v>
                </c:pt>
                <c:pt idx="1033">
                  <c:v>2471.23032569999</c:v>
                </c:pt>
                <c:pt idx="1034">
                  <c:v>2015.50646589583</c:v>
                </c:pt>
                <c:pt idx="1035">
                  <c:v>2465.77899279583</c:v>
                </c:pt>
                <c:pt idx="1036">
                  <c:v>1971.19641015555</c:v>
                </c:pt>
                <c:pt idx="1037">
                  <c:v>2330.57700935</c:v>
                </c:pt>
                <c:pt idx="1038">
                  <c:v>2225.84398815416</c:v>
                </c:pt>
                <c:pt idx="1039">
                  <c:v>2563.39731508749</c:v>
                </c:pt>
                <c:pt idx="1040">
                  <c:v>2178.50056011666</c:v>
                </c:pt>
                <c:pt idx="1041">
                  <c:v>2503.82538727082</c:v>
                </c:pt>
                <c:pt idx="1042">
                  <c:v>2083.68529156666</c:v>
                </c:pt>
                <c:pt idx="1043">
                  <c:v>2555.27386230833</c:v>
                </c:pt>
                <c:pt idx="1044">
                  <c:v>2183.7037006875</c:v>
                </c:pt>
                <c:pt idx="1045">
                  <c:v>2578.87080500833</c:v>
                </c:pt>
                <c:pt idx="1046">
                  <c:v>2021.06139560833</c:v>
                </c:pt>
                <c:pt idx="1047">
                  <c:v>2307.63491549583</c:v>
                </c:pt>
                <c:pt idx="1048">
                  <c:v>1877.57732694583</c:v>
                </c:pt>
                <c:pt idx="1049">
                  <c:v>2290.70281856249</c:v>
                </c:pt>
                <c:pt idx="1050">
                  <c:v>2201.98938365833</c:v>
                </c:pt>
                <c:pt idx="1051">
                  <c:v>2536.57887136249</c:v>
                </c:pt>
                <c:pt idx="1052">
                  <c:v>2227.04053949583</c:v>
                </c:pt>
                <c:pt idx="1053">
                  <c:v>2665.63045353749</c:v>
                </c:pt>
                <c:pt idx="1054">
                  <c:v>2358.79196730499</c:v>
                </c:pt>
                <c:pt idx="1055">
                  <c:v>2582.399825</c:v>
                </c:pt>
                <c:pt idx="1056">
                  <c:v>2205.49394397083</c:v>
                </c:pt>
                <c:pt idx="1057">
                  <c:v>2531.04675921249</c:v>
                </c:pt>
                <c:pt idx="1058">
                  <c:v>2264.18224698333</c:v>
                </c:pt>
                <c:pt idx="1059">
                  <c:v>2578.97738508333</c:v>
                </c:pt>
                <c:pt idx="1060">
                  <c:v>2073.33623900833</c:v>
                </c:pt>
                <c:pt idx="1061">
                  <c:v>2549.90738862916</c:v>
                </c:pt>
                <c:pt idx="1062">
                  <c:v>2066.10665210416</c:v>
                </c:pt>
                <c:pt idx="1063">
                  <c:v>2391.69099867916</c:v>
                </c:pt>
                <c:pt idx="1064">
                  <c:v>2231.39804552916</c:v>
                </c:pt>
                <c:pt idx="1065">
                  <c:v>2742.09098012499</c:v>
                </c:pt>
                <c:pt idx="1066">
                  <c:v>2318.33168430833</c:v>
                </c:pt>
                <c:pt idx="1067">
                  <c:v>2765.91876288333</c:v>
                </c:pt>
                <c:pt idx="1068">
                  <c:v>2283.41872064166</c:v>
                </c:pt>
                <c:pt idx="1069">
                  <c:v>2579.19359562083</c:v>
                </c:pt>
                <c:pt idx="1070">
                  <c:v>2345.47395315833</c:v>
                </c:pt>
                <c:pt idx="1071">
                  <c:v>2774.09424652499</c:v>
                </c:pt>
                <c:pt idx="1072">
                  <c:v>2511.94572088888</c:v>
                </c:pt>
                <c:pt idx="1073">
                  <c:v>2589.77892346666</c:v>
                </c:pt>
                <c:pt idx="1074">
                  <c:v>2260.81526499375</c:v>
                </c:pt>
                <c:pt idx="1075">
                  <c:v>2314.3122076</c:v>
                </c:pt>
                <c:pt idx="1076">
                  <c:v>2167.07867558999</c:v>
                </c:pt>
                <c:pt idx="1077">
                  <c:v>2499.29126914166</c:v>
                </c:pt>
                <c:pt idx="1078">
                  <c:v>2245.5092780909</c:v>
                </c:pt>
                <c:pt idx="1079">
                  <c:v>2493.59503287083</c:v>
                </c:pt>
                <c:pt idx="1080">
                  <c:v>2274.48051005416</c:v>
                </c:pt>
                <c:pt idx="1081">
                  <c:v>2519.40815215833</c:v>
                </c:pt>
                <c:pt idx="1082">
                  <c:v>2344.20717310416</c:v>
                </c:pt>
                <c:pt idx="1083">
                  <c:v>2672.66476106666</c:v>
                </c:pt>
                <c:pt idx="1084">
                  <c:v>2233.11985838333</c:v>
                </c:pt>
                <c:pt idx="1085">
                  <c:v>2668.06193827083</c:v>
                </c:pt>
                <c:pt idx="1086">
                  <c:v>2219.43788347916</c:v>
                </c:pt>
                <c:pt idx="1087">
                  <c:v>2484.59216827083</c:v>
                </c:pt>
                <c:pt idx="1088">
                  <c:v>1975.01173455416</c:v>
                </c:pt>
                <c:pt idx="1089">
                  <c:v>2351.17189933333</c:v>
                </c:pt>
                <c:pt idx="1090">
                  <c:v>2140.66846049374</c:v>
                </c:pt>
                <c:pt idx="1091">
                  <c:v>2271.06112514583</c:v>
                </c:pt>
                <c:pt idx="1092">
                  <c:v>2574.48397944375</c:v>
                </c:pt>
                <c:pt idx="1093">
                  <c:v>2609.55769287916</c:v>
                </c:pt>
                <c:pt idx="1094">
                  <c:v>2346.58567069166</c:v>
                </c:pt>
                <c:pt idx="1095">
                  <c:v>2516.72275919583</c:v>
                </c:pt>
                <c:pt idx="1096">
                  <c:v>2310.17744982083</c:v>
                </c:pt>
                <c:pt idx="1097">
                  <c:v>2751.074572825</c:v>
                </c:pt>
                <c:pt idx="1098">
                  <c:v>2400.16433563333</c:v>
                </c:pt>
                <c:pt idx="1099">
                  <c:v>2722.11024533749</c:v>
                </c:pt>
                <c:pt idx="1100">
                  <c:v>2495.86808233333</c:v>
                </c:pt>
                <c:pt idx="1101">
                  <c:v>2687.29877561249</c:v>
                </c:pt>
                <c:pt idx="1102">
                  <c:v>2199.46207091249</c:v>
                </c:pt>
                <c:pt idx="1103">
                  <c:v>2519.92224841249</c:v>
                </c:pt>
                <c:pt idx="1104">
                  <c:v>2144.88940276249</c:v>
                </c:pt>
                <c:pt idx="1105">
                  <c:v>2539.67372358333</c:v>
                </c:pt>
                <c:pt idx="1106">
                  <c:v>2440.82286770416</c:v>
                </c:pt>
                <c:pt idx="1107">
                  <c:v>2736.07004929583</c:v>
                </c:pt>
                <c:pt idx="1108">
                  <c:v>2403.47110140416</c:v>
                </c:pt>
                <c:pt idx="1109">
                  <c:v>2780.59656775416</c:v>
                </c:pt>
                <c:pt idx="1110">
                  <c:v>2162.82213528333</c:v>
                </c:pt>
                <c:pt idx="1111">
                  <c:v>2573.80934519166</c:v>
                </c:pt>
                <c:pt idx="1112">
                  <c:v>2343.74935104582</c:v>
                </c:pt>
                <c:pt idx="1113">
                  <c:v>2857.12401475416</c:v>
                </c:pt>
                <c:pt idx="1114">
                  <c:v>2318.55609405416</c:v>
                </c:pt>
                <c:pt idx="1115">
                  <c:v>2505.1996293375</c:v>
                </c:pt>
                <c:pt idx="1116">
                  <c:v>2020.46666515416</c:v>
                </c:pt>
                <c:pt idx="1117">
                  <c:v>2413.80579378333</c:v>
                </c:pt>
                <c:pt idx="1118">
                  <c:v>1996.57660631249</c:v>
                </c:pt>
                <c:pt idx="1119">
                  <c:v>2352.08242480416</c:v>
                </c:pt>
                <c:pt idx="1120">
                  <c:v>2143.90196194583</c:v>
                </c:pt>
                <c:pt idx="1121">
                  <c:v>2606.90755967083</c:v>
                </c:pt>
                <c:pt idx="1122">
                  <c:v>2324.38466607499</c:v>
                </c:pt>
                <c:pt idx="1123">
                  <c:v>2648.51487936249</c:v>
                </c:pt>
                <c:pt idx="1124">
                  <c:v>2291.06714827499</c:v>
                </c:pt>
                <c:pt idx="1125">
                  <c:v>2642.43248487083</c:v>
                </c:pt>
                <c:pt idx="1126">
                  <c:v>2486.63121728749</c:v>
                </c:pt>
                <c:pt idx="1127">
                  <c:v>2778.60836369166</c:v>
                </c:pt>
                <c:pt idx="1128">
                  <c:v>2422.43725202916</c:v>
                </c:pt>
                <c:pt idx="1129">
                  <c:v>2721.79990104583</c:v>
                </c:pt>
                <c:pt idx="1130">
                  <c:v>2212.97765608749</c:v>
                </c:pt>
                <c:pt idx="1131">
                  <c:v>2501.93616109166</c:v>
                </c:pt>
                <c:pt idx="1132">
                  <c:v>2111.55417221666</c:v>
                </c:pt>
                <c:pt idx="1133">
                  <c:v>2530.74923686666</c:v>
                </c:pt>
                <c:pt idx="1134">
                  <c:v>2497.32237744582</c:v>
                </c:pt>
                <c:pt idx="1135">
                  <c:v>2732.7460428</c:v>
                </c:pt>
                <c:pt idx="1136">
                  <c:v>2439.81281928333</c:v>
                </c:pt>
                <c:pt idx="1137">
                  <c:v>2564.54435559999</c:v>
                </c:pt>
                <c:pt idx="1138">
                  <c:v>2039.49136985833</c:v>
                </c:pt>
                <c:pt idx="1139">
                  <c:v>2476.18546571249</c:v>
                </c:pt>
                <c:pt idx="1140">
                  <c:v>2162.33460924166</c:v>
                </c:pt>
                <c:pt idx="1141">
                  <c:v>2505.56939507916</c:v>
                </c:pt>
                <c:pt idx="1142">
                  <c:v>2241.48025920416</c:v>
                </c:pt>
                <c:pt idx="1143">
                  <c:v>2905.06376192083</c:v>
                </c:pt>
                <c:pt idx="1144">
                  <c:v>2179.37735012499</c:v>
                </c:pt>
                <c:pt idx="1145">
                  <c:v>2483.37733289166</c:v>
                </c:pt>
                <c:pt idx="1146">
                  <c:v>1970.05259845833</c:v>
                </c:pt>
                <c:pt idx="1147">
                  <c:v>2421.49474734583</c:v>
                </c:pt>
                <c:pt idx="1148">
                  <c:v>2258.18339816249</c:v>
                </c:pt>
                <c:pt idx="1149">
                  <c:v>2689.06048949166</c:v>
                </c:pt>
                <c:pt idx="1150">
                  <c:v>2404.67859014166</c:v>
                </c:pt>
                <c:pt idx="1151">
                  <c:v>2544.42789524583</c:v>
                </c:pt>
                <c:pt idx="1152">
                  <c:v>2210.38727154166</c:v>
                </c:pt>
                <c:pt idx="1153">
                  <c:v>2609.80600562083</c:v>
                </c:pt>
                <c:pt idx="1154">
                  <c:v>2268.12425149166</c:v>
                </c:pt>
                <c:pt idx="1155">
                  <c:v>2530.30713499166</c:v>
                </c:pt>
                <c:pt idx="1156">
                  <c:v>2248.51418866249</c:v>
                </c:pt>
                <c:pt idx="1157">
                  <c:v>2468.99811348749</c:v>
                </c:pt>
                <c:pt idx="1158">
                  <c:v>2007.10913980833</c:v>
                </c:pt>
                <c:pt idx="1159">
                  <c:v>2283.21158609583</c:v>
                </c:pt>
                <c:pt idx="1160">
                  <c:v>1926.35087117916</c:v>
                </c:pt>
                <c:pt idx="1161">
                  <c:v>2254.40261676249</c:v>
                </c:pt>
                <c:pt idx="1162">
                  <c:v>2097.32178277499</c:v>
                </c:pt>
                <c:pt idx="1163">
                  <c:v>2447.01561947916</c:v>
                </c:pt>
                <c:pt idx="1164">
                  <c:v>2058.41431788749</c:v>
                </c:pt>
                <c:pt idx="1165">
                  <c:v>2263.93831295833</c:v>
                </c:pt>
                <c:pt idx="1166">
                  <c:v>2234.98919308333</c:v>
                </c:pt>
                <c:pt idx="1167">
                  <c:v>2535.46484212916</c:v>
                </c:pt>
                <c:pt idx="1168">
                  <c:v>2119.83780242499</c:v>
                </c:pt>
                <c:pt idx="1169">
                  <c:v>2611.15088102916</c:v>
                </c:pt>
                <c:pt idx="1170">
                  <c:v>2252.26253229999</c:v>
                </c:pt>
                <c:pt idx="1171">
                  <c:v>2435.58375557916</c:v>
                </c:pt>
                <c:pt idx="1172">
                  <c:v>2012.25450448333</c:v>
                </c:pt>
                <c:pt idx="1173">
                  <c:v>2306.09973747083</c:v>
                </c:pt>
                <c:pt idx="1174">
                  <c:v>1922.23204700416</c:v>
                </c:pt>
                <c:pt idx="1175">
                  <c:v>2271.51861991666</c:v>
                </c:pt>
                <c:pt idx="1176">
                  <c:v>2173.24859736249</c:v>
                </c:pt>
                <c:pt idx="1177">
                  <c:v>2599.35337378333</c:v>
                </c:pt>
                <c:pt idx="1178">
                  <c:v>2275.37746371666</c:v>
                </c:pt>
                <c:pt idx="1179">
                  <c:v>2572.11581872499</c:v>
                </c:pt>
                <c:pt idx="1180">
                  <c:v>2332.24699680832</c:v>
                </c:pt>
                <c:pt idx="1181">
                  <c:v>2522.05779345416</c:v>
                </c:pt>
                <c:pt idx="1182">
                  <c:v>2178.59712327916</c:v>
                </c:pt>
                <c:pt idx="1183">
                  <c:v>2640.28227455833</c:v>
                </c:pt>
                <c:pt idx="1184">
                  <c:v>2262.52688914583</c:v>
                </c:pt>
                <c:pt idx="1185">
                  <c:v>2547.72551071666</c:v>
                </c:pt>
                <c:pt idx="1186">
                  <c:v>2002.28532935416</c:v>
                </c:pt>
                <c:pt idx="1187">
                  <c:v>2471.14781382916</c:v>
                </c:pt>
                <c:pt idx="1188">
                  <c:v>1884.51897674583</c:v>
                </c:pt>
                <c:pt idx="1189">
                  <c:v>2284.68606550416</c:v>
                </c:pt>
                <c:pt idx="1190">
                  <c:v>2074.93668484166</c:v>
                </c:pt>
                <c:pt idx="1191">
                  <c:v>2416.97642242916</c:v>
                </c:pt>
                <c:pt idx="1192">
                  <c:v>2351.8879272875</c:v>
                </c:pt>
                <c:pt idx="1193">
                  <c:v>2486.44959794166</c:v>
                </c:pt>
                <c:pt idx="1194">
                  <c:v>2205.80877638333</c:v>
                </c:pt>
                <c:pt idx="1195">
                  <c:v>2463.88778062083</c:v>
                </c:pt>
                <c:pt idx="1196">
                  <c:v>2389.54165507727</c:v>
                </c:pt>
                <c:pt idx="1197">
                  <c:v>2462.31267484583</c:v>
                </c:pt>
                <c:pt idx="1198">
                  <c:v>2597.96976569166</c:v>
                </c:pt>
                <c:pt idx="1199">
                  <c:v>2343.01261447083</c:v>
                </c:pt>
                <c:pt idx="1200">
                  <c:v>1935.67293994999</c:v>
                </c:pt>
                <c:pt idx="1201">
                  <c:v>2169.64423167082</c:v>
                </c:pt>
                <c:pt idx="1202">
                  <c:v>1945.72632709999</c:v>
                </c:pt>
                <c:pt idx="1203">
                  <c:v>2415.72387097499</c:v>
                </c:pt>
                <c:pt idx="1204">
                  <c:v>2155.84684030833</c:v>
                </c:pt>
                <c:pt idx="1205">
                  <c:v>2488.41903222083</c:v>
                </c:pt>
                <c:pt idx="1206">
                  <c:v>2225.50851965</c:v>
                </c:pt>
                <c:pt idx="1207">
                  <c:v>2729.62043478749</c:v>
                </c:pt>
                <c:pt idx="1208">
                  <c:v>2310.97751897499</c:v>
                </c:pt>
                <c:pt idx="1209">
                  <c:v>2549.69455940416</c:v>
                </c:pt>
                <c:pt idx="1210">
                  <c:v>2250.24311205416</c:v>
                </c:pt>
                <c:pt idx="1211">
                  <c:v>2474.05860889999</c:v>
                </c:pt>
                <c:pt idx="1212">
                  <c:v>2181.92416806249</c:v>
                </c:pt>
                <c:pt idx="1213">
                  <c:v>2459.62038521249</c:v>
                </c:pt>
                <c:pt idx="1214">
                  <c:v>2001.12094915833</c:v>
                </c:pt>
                <c:pt idx="1215">
                  <c:v>2264.75547124166</c:v>
                </c:pt>
                <c:pt idx="1216">
                  <c:v>1921.85384091666</c:v>
                </c:pt>
                <c:pt idx="1217">
                  <c:v>2338.87134829166</c:v>
                </c:pt>
                <c:pt idx="1218">
                  <c:v>2248.20960555416</c:v>
                </c:pt>
                <c:pt idx="1219">
                  <c:v>2430.76135962083</c:v>
                </c:pt>
                <c:pt idx="1220">
                  <c:v>2143.80028689999</c:v>
                </c:pt>
                <c:pt idx="1221">
                  <c:v>2488.10847363333</c:v>
                </c:pt>
                <c:pt idx="1222">
                  <c:v>2079.25190907916</c:v>
                </c:pt>
                <c:pt idx="1223">
                  <c:v>2292.28191523333</c:v>
                </c:pt>
                <c:pt idx="1224">
                  <c:v>2187.0871952125</c:v>
                </c:pt>
                <c:pt idx="1225">
                  <c:v>2578.15389396249</c:v>
                </c:pt>
                <c:pt idx="1226">
                  <c:v>2073.3774350125</c:v>
                </c:pt>
                <c:pt idx="1227">
                  <c:v>2368.67286151249</c:v>
                </c:pt>
                <c:pt idx="1228">
                  <c:v>2047.02258731666</c:v>
                </c:pt>
                <c:pt idx="1229">
                  <c:v>2192.48605869999</c:v>
                </c:pt>
                <c:pt idx="1230">
                  <c:v>1873.06487834583</c:v>
                </c:pt>
                <c:pt idx="1231">
                  <c:v>2222.55402514583</c:v>
                </c:pt>
                <c:pt idx="1232">
                  <c:v>2121.85638987916</c:v>
                </c:pt>
                <c:pt idx="1233">
                  <c:v>2453.316916775</c:v>
                </c:pt>
                <c:pt idx="1234">
                  <c:v>2205.26239632083</c:v>
                </c:pt>
                <c:pt idx="1235">
                  <c:v>2507.61188440833</c:v>
                </c:pt>
                <c:pt idx="1236">
                  <c:v>2188.46527114583</c:v>
                </c:pt>
                <c:pt idx="1237">
                  <c:v>2584.44164734999</c:v>
                </c:pt>
                <c:pt idx="1238">
                  <c:v>2158.91953861249</c:v>
                </c:pt>
                <c:pt idx="1239">
                  <c:v>2390.73995853749</c:v>
                </c:pt>
                <c:pt idx="1240">
                  <c:v>2250.08919992083</c:v>
                </c:pt>
                <c:pt idx="1241">
                  <c:v>2573.54704090499</c:v>
                </c:pt>
                <c:pt idx="1242">
                  <c:v>1949.99126975416</c:v>
                </c:pt>
                <c:pt idx="1243">
                  <c:v>2521.48580695833</c:v>
                </c:pt>
                <c:pt idx="1244">
                  <c:v>2023.59938779166</c:v>
                </c:pt>
                <c:pt idx="1245">
                  <c:v>2372.40707694166</c:v>
                </c:pt>
                <c:pt idx="1246">
                  <c:v>2288.52837201666</c:v>
                </c:pt>
                <c:pt idx="1247">
                  <c:v>2750.91704580416</c:v>
                </c:pt>
                <c:pt idx="1248">
                  <c:v>2395.36687680416</c:v>
                </c:pt>
                <c:pt idx="1249">
                  <c:v>2506.80389274999</c:v>
                </c:pt>
                <c:pt idx="1250">
                  <c:v>2280.47269402916</c:v>
                </c:pt>
                <c:pt idx="1251">
                  <c:v>2566.94483657083</c:v>
                </c:pt>
                <c:pt idx="1252">
                  <c:v>2116.55232921249</c:v>
                </c:pt>
                <c:pt idx="1253">
                  <c:v>2461.17381937083</c:v>
                </c:pt>
                <c:pt idx="1254">
                  <c:v>2288.29357438332</c:v>
                </c:pt>
                <c:pt idx="1255">
                  <c:v>2493.15804917499</c:v>
                </c:pt>
                <c:pt idx="1256">
                  <c:v>1997.42899145416</c:v>
                </c:pt>
                <c:pt idx="1257">
                  <c:v>2123.21531239166</c:v>
                </c:pt>
                <c:pt idx="1258">
                  <c:v>1959.95311312</c:v>
                </c:pt>
                <c:pt idx="1259">
                  <c:v>2364.44915055416</c:v>
                </c:pt>
                <c:pt idx="1260">
                  <c:v>2248.01901051249</c:v>
                </c:pt>
                <c:pt idx="1261">
                  <c:v>2449.88663313333</c:v>
                </c:pt>
                <c:pt idx="1262">
                  <c:v>2096.23885985416</c:v>
                </c:pt>
                <c:pt idx="1263">
                  <c:v>2440.35530283749</c:v>
                </c:pt>
                <c:pt idx="1264">
                  <c:v>2174.91725055416</c:v>
                </c:pt>
                <c:pt idx="1265">
                  <c:v>2413.51053229166</c:v>
                </c:pt>
                <c:pt idx="1266">
                  <c:v>2185.63629482916</c:v>
                </c:pt>
                <c:pt idx="1267">
                  <c:v>2488.20337345</c:v>
                </c:pt>
                <c:pt idx="1268">
                  <c:v>2231.60662981249</c:v>
                </c:pt>
                <c:pt idx="1269">
                  <c:v>2409.38050573749</c:v>
                </c:pt>
                <c:pt idx="1270">
                  <c:v>1921.26929189583</c:v>
                </c:pt>
                <c:pt idx="1271">
                  <c:v>2087.17798111666</c:v>
                </c:pt>
                <c:pt idx="1272">
                  <c:v>1892.15759709583</c:v>
                </c:pt>
                <c:pt idx="1273">
                  <c:v>2173.01398877083</c:v>
                </c:pt>
                <c:pt idx="1274">
                  <c:v>1895.05462394166</c:v>
                </c:pt>
                <c:pt idx="1275">
                  <c:v>2193.56885432916</c:v>
                </c:pt>
                <c:pt idx="1276">
                  <c:v>2045.44873609166</c:v>
                </c:pt>
                <c:pt idx="1277">
                  <c:v>2551.98480454166</c:v>
                </c:pt>
                <c:pt idx="1278">
                  <c:v>2031.18684132499</c:v>
                </c:pt>
                <c:pt idx="1279">
                  <c:v>2302.83701360416</c:v>
                </c:pt>
                <c:pt idx="1280">
                  <c:v>2265.20051680714</c:v>
                </c:pt>
                <c:pt idx="1281">
                  <c:v>2274.59853096249</c:v>
                </c:pt>
                <c:pt idx="1282">
                  <c:v>2135.99824755833</c:v>
                </c:pt>
                <c:pt idx="1283">
                  <c:v>2375.10637022499</c:v>
                </c:pt>
                <c:pt idx="1284">
                  <c:v>2001.98410709999</c:v>
                </c:pt>
                <c:pt idx="1285">
                  <c:v>2222.65080154583</c:v>
                </c:pt>
                <c:pt idx="1286">
                  <c:v>1869.44751362083</c:v>
                </c:pt>
                <c:pt idx="1287">
                  <c:v>2031.89050104166</c:v>
                </c:pt>
                <c:pt idx="1288">
                  <c:v>2070.8754603</c:v>
                </c:pt>
                <c:pt idx="1289">
                  <c:v>2413.41911486249</c:v>
                </c:pt>
                <c:pt idx="1290">
                  <c:v>2139.01039754583</c:v>
                </c:pt>
                <c:pt idx="1291">
                  <c:v>2448.62247427499</c:v>
                </c:pt>
                <c:pt idx="1292">
                  <c:v>2178.94914845416</c:v>
                </c:pt>
                <c:pt idx="1293">
                  <c:v>2403.73271083333</c:v>
                </c:pt>
                <c:pt idx="1294">
                  <c:v>2120.54945463333</c:v>
                </c:pt>
                <c:pt idx="1295">
                  <c:v>2471.67496623749</c:v>
                </c:pt>
                <c:pt idx="1296">
                  <c:v>2086.25206199583</c:v>
                </c:pt>
                <c:pt idx="1297">
                  <c:v>2442.88668104166</c:v>
                </c:pt>
                <c:pt idx="1298">
                  <c:v>1963.98788502083</c:v>
                </c:pt>
                <c:pt idx="1299">
                  <c:v>2139.93995152083</c:v>
                </c:pt>
                <c:pt idx="1300">
                  <c:v>1766.14336092083</c:v>
                </c:pt>
                <c:pt idx="1301">
                  <c:v>2132.2404889</c:v>
                </c:pt>
                <c:pt idx="1302">
                  <c:v>2083.75894689166</c:v>
                </c:pt>
                <c:pt idx="1303">
                  <c:v>2341.16714165</c:v>
                </c:pt>
                <c:pt idx="1304">
                  <c:v>2093.52091827916</c:v>
                </c:pt>
                <c:pt idx="1305">
                  <c:v>2386.49044517916</c:v>
                </c:pt>
                <c:pt idx="1306">
                  <c:v>2032.89357722083</c:v>
                </c:pt>
                <c:pt idx="1307">
                  <c:v>2301.32898219166</c:v>
                </c:pt>
                <c:pt idx="1308">
                  <c:v>2119.08520122499</c:v>
                </c:pt>
                <c:pt idx="1309">
                  <c:v>2325.91377093333</c:v>
                </c:pt>
                <c:pt idx="1310">
                  <c:v>2009.09985255833</c:v>
                </c:pt>
                <c:pt idx="1311">
                  <c:v>2283.40030246249</c:v>
                </c:pt>
                <c:pt idx="1312">
                  <c:v>1919.36765767499</c:v>
                </c:pt>
                <c:pt idx="1313">
                  <c:v>2286.60910756249</c:v>
                </c:pt>
                <c:pt idx="1314">
                  <c:v>1848.72475675416</c:v>
                </c:pt>
                <c:pt idx="1315">
                  <c:v>2055.52582917499</c:v>
                </c:pt>
                <c:pt idx="1316">
                  <c:v>2065.41586628749</c:v>
                </c:pt>
                <c:pt idx="1317">
                  <c:v>2347.57120447916</c:v>
                </c:pt>
                <c:pt idx="1318">
                  <c:v>1953.47188250833</c:v>
                </c:pt>
                <c:pt idx="1319">
                  <c:v>2347.20381338333</c:v>
                </c:pt>
                <c:pt idx="1320">
                  <c:v>2089.96745725416</c:v>
                </c:pt>
                <c:pt idx="1321">
                  <c:v>2308.83261773749</c:v>
                </c:pt>
                <c:pt idx="1322">
                  <c:v>2021.69496208333</c:v>
                </c:pt>
                <c:pt idx="1323">
                  <c:v>2344.45697258749</c:v>
                </c:pt>
                <c:pt idx="1324">
                  <c:v>1995.23664708333</c:v>
                </c:pt>
                <c:pt idx="1325">
                  <c:v>2290.15695679166</c:v>
                </c:pt>
                <c:pt idx="1326">
                  <c:v>1905.25924411666</c:v>
                </c:pt>
                <c:pt idx="1327">
                  <c:v>2075.94736607916</c:v>
                </c:pt>
                <c:pt idx="1328">
                  <c:v>1785.04750215416</c:v>
                </c:pt>
                <c:pt idx="1329">
                  <c:v>2224.86612480833</c:v>
                </c:pt>
                <c:pt idx="1330">
                  <c:v>2128.69922132499</c:v>
                </c:pt>
                <c:pt idx="1331">
                  <c:v>2480.63464542083</c:v>
                </c:pt>
                <c:pt idx="1332">
                  <c:v>2124.5476204875</c:v>
                </c:pt>
                <c:pt idx="1333">
                  <c:v>2571.44064713749</c:v>
                </c:pt>
                <c:pt idx="1334">
                  <c:v>2217.52680752499</c:v>
                </c:pt>
                <c:pt idx="1335">
                  <c:v>2683.70110607499</c:v>
                </c:pt>
                <c:pt idx="1336">
                  <c:v>2215.45282554166</c:v>
                </c:pt>
                <c:pt idx="1337">
                  <c:v>2554.69169653749</c:v>
                </c:pt>
                <c:pt idx="1338">
                  <c:v>2151.40103832083</c:v>
                </c:pt>
                <c:pt idx="1339">
                  <c:v>2318.92517236249</c:v>
                </c:pt>
                <c:pt idx="1340">
                  <c:v>1916.75235766249</c:v>
                </c:pt>
                <c:pt idx="1341">
                  <c:v>2233.58556535833</c:v>
                </c:pt>
                <c:pt idx="1342">
                  <c:v>1842.99417241818</c:v>
                </c:pt>
                <c:pt idx="1343">
                  <c:v>2396.8332543875</c:v>
                </c:pt>
                <c:pt idx="1344">
                  <c:v>2408.68521156666</c:v>
                </c:pt>
                <c:pt idx="1345">
                  <c:v>2942.79362559166</c:v>
                </c:pt>
                <c:pt idx="1346">
                  <c:v>2237.45655339583</c:v>
                </c:pt>
                <c:pt idx="1347">
                  <c:v>2495.23964942916</c:v>
                </c:pt>
                <c:pt idx="1348">
                  <c:v>2130.48374778333</c:v>
                </c:pt>
                <c:pt idx="1349">
                  <c:v>2358.77429511249</c:v>
                </c:pt>
                <c:pt idx="1350">
                  <c:v>2085.40950288333</c:v>
                </c:pt>
                <c:pt idx="1351">
                  <c:v>2406.06192685</c:v>
                </c:pt>
                <c:pt idx="1352">
                  <c:v>2127.61954190833</c:v>
                </c:pt>
                <c:pt idx="1353">
                  <c:v>2560.46907871666</c:v>
                </c:pt>
                <c:pt idx="1354">
                  <c:v>1850.07687563749</c:v>
                </c:pt>
                <c:pt idx="1355">
                  <c:v>2426.71251379999</c:v>
                </c:pt>
                <c:pt idx="1356">
                  <c:v>1944.93938328749</c:v>
                </c:pt>
                <c:pt idx="1357">
                  <c:v>2505.62112916666</c:v>
                </c:pt>
                <c:pt idx="1358">
                  <c:v>2269.73101787916</c:v>
                </c:pt>
                <c:pt idx="1359">
                  <c:v>2653.84190859166</c:v>
                </c:pt>
                <c:pt idx="1360">
                  <c:v>2142.66554924166</c:v>
                </c:pt>
                <c:pt idx="1361">
                  <c:v>2586.23360374999</c:v>
                </c:pt>
                <c:pt idx="1362">
                  <c:v>2057.54990157499</c:v>
                </c:pt>
                <c:pt idx="1363">
                  <c:v>2420.39333094166</c:v>
                </c:pt>
                <c:pt idx="1364">
                  <c:v>2060.36461325833</c:v>
                </c:pt>
                <c:pt idx="1365">
                  <c:v>2679.90891471249</c:v>
                </c:pt>
                <c:pt idx="1366">
                  <c:v>2216.17116314583</c:v>
                </c:pt>
                <c:pt idx="1367">
                  <c:v>2859.29657275416</c:v>
                </c:pt>
                <c:pt idx="1368">
                  <c:v>2109.58620181666</c:v>
                </c:pt>
                <c:pt idx="1369">
                  <c:v>2827.93923481666</c:v>
                </c:pt>
                <c:pt idx="1370">
                  <c:v>2155.95530433332</c:v>
                </c:pt>
                <c:pt idx="1371">
                  <c:v>2406.62763356666</c:v>
                </c:pt>
                <c:pt idx="1372">
                  <c:v>2279.28140259999</c:v>
                </c:pt>
                <c:pt idx="1373">
                  <c:v>2478.70375900416</c:v>
                </c:pt>
                <c:pt idx="1374">
                  <c:v>2198.48364248888</c:v>
                </c:pt>
                <c:pt idx="1375">
                  <c:v>2294.22152299999</c:v>
                </c:pt>
                <c:pt idx="1376">
                  <c:v>2159.42412805714</c:v>
                </c:pt>
                <c:pt idx="1377">
                  <c:v>2379.47266078749</c:v>
                </c:pt>
                <c:pt idx="1378">
                  <c:v>2352.64787476874</c:v>
                </c:pt>
                <c:pt idx="1379">
                  <c:v>2646.20141033333</c:v>
                </c:pt>
                <c:pt idx="1380">
                  <c:v>2272.50585269166</c:v>
                </c:pt>
                <c:pt idx="1381">
                  <c:v>2652.71588895416</c:v>
                </c:pt>
                <c:pt idx="1382">
                  <c:v>2005.09100426666</c:v>
                </c:pt>
                <c:pt idx="1383">
                  <c:v>2234.64248065416</c:v>
                </c:pt>
                <c:pt idx="1384">
                  <c:v>1864.39245998333</c:v>
                </c:pt>
                <c:pt idx="1385">
                  <c:v>2024.61291038333</c:v>
                </c:pt>
                <c:pt idx="1386">
                  <c:v>2005.26518903749</c:v>
                </c:pt>
                <c:pt idx="1387">
                  <c:v>2374.92759146363</c:v>
                </c:pt>
                <c:pt idx="1388">
                  <c:v>2211.18201264285</c:v>
                </c:pt>
                <c:pt idx="1389">
                  <c:v>2294.16193281666</c:v>
                </c:pt>
                <c:pt idx="1390">
                  <c:v>2257.75924128888</c:v>
                </c:pt>
                <c:pt idx="1391">
                  <c:v>2585.15837254999</c:v>
                </c:pt>
                <c:pt idx="1392">
                  <c:v>2375.323090725</c:v>
                </c:pt>
                <c:pt idx="1393">
                  <c:v>2790.3557368125</c:v>
                </c:pt>
                <c:pt idx="1394">
                  <c:v>2180.84489735416</c:v>
                </c:pt>
                <c:pt idx="1395">
                  <c:v>2363.51145879583</c:v>
                </c:pt>
                <c:pt idx="1396">
                  <c:v>1955.83626720416</c:v>
                </c:pt>
                <c:pt idx="1397">
                  <c:v>2182.42597424999</c:v>
                </c:pt>
                <c:pt idx="1398">
                  <c:v>1895.85642568333</c:v>
                </c:pt>
                <c:pt idx="1399">
                  <c:v>2189.57641088749</c:v>
                </c:pt>
                <c:pt idx="1400">
                  <c:v>2183.91100407083</c:v>
                </c:pt>
                <c:pt idx="1401">
                  <c:v>2385.10862179999</c:v>
                </c:pt>
                <c:pt idx="1402">
                  <c:v>2154.49836010999</c:v>
                </c:pt>
                <c:pt idx="1403">
                  <c:v>2305.91359163333</c:v>
                </c:pt>
                <c:pt idx="1404">
                  <c:v>2196.01977080999</c:v>
                </c:pt>
                <c:pt idx="1405">
                  <c:v>2522.46464242083</c:v>
                </c:pt>
                <c:pt idx="1406">
                  <c:v>2208.31865280555</c:v>
                </c:pt>
                <c:pt idx="1407">
                  <c:v>2698.29579794999</c:v>
                </c:pt>
                <c:pt idx="1408">
                  <c:v>2409.15837637083</c:v>
                </c:pt>
                <c:pt idx="1409">
                  <c:v>2971.84343904999</c:v>
                </c:pt>
                <c:pt idx="1410">
                  <c:v>2197.71555454166</c:v>
                </c:pt>
                <c:pt idx="1411">
                  <c:v>2426.73252114999</c:v>
                </c:pt>
                <c:pt idx="1412">
                  <c:v>1917.03239828749</c:v>
                </c:pt>
                <c:pt idx="1413">
                  <c:v>2237.13924589583</c:v>
                </c:pt>
                <c:pt idx="1414">
                  <c:v>2091.60837451666</c:v>
                </c:pt>
                <c:pt idx="1415">
                  <c:v>2455.19467472499</c:v>
                </c:pt>
                <c:pt idx="1416">
                  <c:v>2079.37890237083</c:v>
                </c:pt>
                <c:pt idx="1417">
                  <c:v>2727.84421164166</c:v>
                </c:pt>
                <c:pt idx="1418">
                  <c:v>2275.32213169999</c:v>
                </c:pt>
                <c:pt idx="1419">
                  <c:v>2934.10397338333</c:v>
                </c:pt>
                <c:pt idx="1420">
                  <c:v>2528.13584257083</c:v>
                </c:pt>
                <c:pt idx="1421">
                  <c:v>3237.79916354166</c:v>
                </c:pt>
                <c:pt idx="1422">
                  <c:v>2579.88358816249</c:v>
                </c:pt>
                <c:pt idx="1423">
                  <c:v>3354.06702878333</c:v>
                </c:pt>
                <c:pt idx="1424">
                  <c:v>2559.62945101666</c:v>
                </c:pt>
                <c:pt idx="1425">
                  <c:v>3264.2371815875</c:v>
                </c:pt>
                <c:pt idx="1426">
                  <c:v>2490.98879637499</c:v>
                </c:pt>
                <c:pt idx="1427">
                  <c:v>3251.37714678333</c:v>
                </c:pt>
                <c:pt idx="1428">
                  <c:v>2665.42444382916</c:v>
                </c:pt>
                <c:pt idx="1429">
                  <c:v>3741.02906861249</c:v>
                </c:pt>
                <c:pt idx="1430">
                  <c:v>2649.43510347083</c:v>
                </c:pt>
                <c:pt idx="1431">
                  <c:v>2959.32609863749</c:v>
                </c:pt>
                <c:pt idx="1432">
                  <c:v>2373.5209118875</c:v>
                </c:pt>
                <c:pt idx="1433">
                  <c:v>2643.75417673333</c:v>
                </c:pt>
                <c:pt idx="1434">
                  <c:v>2349.55593094166</c:v>
                </c:pt>
                <c:pt idx="1435">
                  <c:v>2650.22109213333</c:v>
                </c:pt>
                <c:pt idx="1436">
                  <c:v>2229.10723412916</c:v>
                </c:pt>
                <c:pt idx="1437">
                  <c:v>2575.23867805833</c:v>
                </c:pt>
                <c:pt idx="1438">
                  <c:v>2011.67501179166</c:v>
                </c:pt>
                <c:pt idx="1439">
                  <c:v>2307.41264832916</c:v>
                </c:pt>
                <c:pt idx="1440">
                  <c:v>1953.21403804166</c:v>
                </c:pt>
                <c:pt idx="1441">
                  <c:v>2361.07397340833</c:v>
                </c:pt>
                <c:pt idx="1442">
                  <c:v>2209.59354426666</c:v>
                </c:pt>
                <c:pt idx="1443">
                  <c:v>2695.23287887916</c:v>
                </c:pt>
                <c:pt idx="1444">
                  <c:v>2273.24295035</c:v>
                </c:pt>
                <c:pt idx="1445">
                  <c:v>2567.26275027916</c:v>
                </c:pt>
                <c:pt idx="1446">
                  <c:v>2067.92247909583</c:v>
                </c:pt>
                <c:pt idx="1447">
                  <c:v>2223.43608991666</c:v>
                </c:pt>
                <c:pt idx="1448">
                  <c:v>1903.09204798333</c:v>
                </c:pt>
                <c:pt idx="1449">
                  <c:v>2306.41512666249</c:v>
                </c:pt>
                <c:pt idx="1450">
                  <c:v>2159.70688459166</c:v>
                </c:pt>
                <c:pt idx="1451">
                  <c:v>2454.25766834583</c:v>
                </c:pt>
                <c:pt idx="1452">
                  <c:v>2020.56947917272</c:v>
                </c:pt>
                <c:pt idx="1453">
                  <c:v>2363.03645631666</c:v>
                </c:pt>
                <c:pt idx="1454">
                  <c:v>1970.46141897499</c:v>
                </c:pt>
                <c:pt idx="1455">
                  <c:v>2549.55666241666</c:v>
                </c:pt>
                <c:pt idx="1456">
                  <c:v>2301.83577068333</c:v>
                </c:pt>
                <c:pt idx="1457">
                  <c:v>2660.86627086249</c:v>
                </c:pt>
                <c:pt idx="1458">
                  <c:v>2197.63033545833</c:v>
                </c:pt>
                <c:pt idx="1459">
                  <c:v>2379.96887625416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FB2-4E50-AC1E-60A9596AE3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05857816"/>
        <c:axId val="-2105854744"/>
      </c:scatterChart>
      <c:valAx>
        <c:axId val="-2105857816"/>
        <c:scaling>
          <c:orientation val="minMax"/>
        </c:scaling>
        <c:delete val="0"/>
        <c:axPos val="b"/>
        <c:majorGridlines/>
        <c:numFmt formatCode="&quot;$&quot;#,##0" sourceLinked="0"/>
        <c:majorTickMark val="out"/>
        <c:minorTickMark val="none"/>
        <c:tickLblPos val="nextTo"/>
        <c:crossAx val="-2105854744"/>
        <c:crosses val="autoZero"/>
        <c:crossBetween val="midCat"/>
      </c:valAx>
      <c:valAx>
        <c:axId val="-2105854744"/>
        <c:scaling>
          <c:orientation val="minMax"/>
        </c:scaling>
        <c:delete val="0"/>
        <c:axPos val="l"/>
        <c:majorGridlines/>
        <c:numFmt formatCode="0" sourceLinked="0"/>
        <c:majorTickMark val="out"/>
        <c:minorTickMark val="none"/>
        <c:tickLblPos val="nextTo"/>
        <c:crossAx val="-2105857816"/>
        <c:crosses val="autoZero"/>
        <c:crossBetween val="midCat"/>
      </c:valAx>
    </c:plotArea>
    <c:legend>
      <c:legendPos val="t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en-US" sz="1200"/>
              <a:t>Average</a:t>
            </a:r>
            <a:r>
              <a:rPr lang="en-US" sz="1200" baseline="0"/>
              <a:t> Water Balancing Market Price vs. Market Demand</a:t>
            </a:r>
            <a:endParaRPr lang="en-US" sz="120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01525590551181"/>
          <c:y val="0.284183944912291"/>
          <c:w val="0.78937489063867"/>
          <c:h val="0.504437114279634"/>
        </c:manualLayout>
      </c:layout>
      <c:barChart>
        <c:barDir val="col"/>
        <c:grouping val="clustered"/>
        <c:varyColors val="0"/>
        <c:ser>
          <c:idx val="1"/>
          <c:order val="1"/>
          <c:tx>
            <c:v>Market Demand</c:v>
          </c:tx>
          <c:invertIfNegative val="0"/>
          <c:cat>
            <c:numRef>
              <c:f>'What-If Analysis'!$E$13:$P$13</c:f>
              <c:numCache>
                <c:formatCode>mmm\-yy</c:formatCode>
                <c:ptCount val="12"/>
                <c:pt idx="0">
                  <c:v>41821.0</c:v>
                </c:pt>
                <c:pt idx="1">
                  <c:v>41852.0</c:v>
                </c:pt>
                <c:pt idx="2">
                  <c:v>41883.0</c:v>
                </c:pt>
                <c:pt idx="3">
                  <c:v>41913.0</c:v>
                </c:pt>
                <c:pt idx="4">
                  <c:v>41944.0</c:v>
                </c:pt>
                <c:pt idx="5">
                  <c:v>41974.0</c:v>
                </c:pt>
                <c:pt idx="6">
                  <c:v>42005.0</c:v>
                </c:pt>
                <c:pt idx="7">
                  <c:v>42036.0</c:v>
                </c:pt>
                <c:pt idx="8">
                  <c:v>42064.0</c:v>
                </c:pt>
                <c:pt idx="9">
                  <c:v>42095.0</c:v>
                </c:pt>
                <c:pt idx="10">
                  <c:v>42125.0</c:v>
                </c:pt>
                <c:pt idx="11">
                  <c:v>42156.0</c:v>
                </c:pt>
              </c:numCache>
            </c:numRef>
          </c:cat>
          <c:val>
            <c:numRef>
              <c:f>'What-If Analysis'!$E$17:$P$17</c:f>
              <c:numCache>
                <c:formatCode>"$"#,##0.00;[Red]\-"$"#,##0.00</c:formatCode>
                <c:ptCount val="12"/>
                <c:pt idx="0">
                  <c:v>2283.050247252767</c:v>
                </c:pt>
                <c:pt idx="1">
                  <c:v>2201.059245881507</c:v>
                </c:pt>
                <c:pt idx="2">
                  <c:v>2153.343185089953</c:v>
                </c:pt>
                <c:pt idx="3">
                  <c:v>2098.991381261779</c:v>
                </c:pt>
                <c:pt idx="4">
                  <c:v>2200.929328992666</c:v>
                </c:pt>
                <c:pt idx="5">
                  <c:v>2312.199539761142</c:v>
                </c:pt>
                <c:pt idx="6">
                  <c:v>2298.190158965397</c:v>
                </c:pt>
                <c:pt idx="7">
                  <c:v>2406.091896211103</c:v>
                </c:pt>
                <c:pt idx="8">
                  <c:v>2127.814543270976</c:v>
                </c:pt>
                <c:pt idx="9">
                  <c:v>2185.799754226371</c:v>
                </c:pt>
                <c:pt idx="10">
                  <c:v>2145.783718866106</c:v>
                </c:pt>
                <c:pt idx="11">
                  <c:v>2229.7496611442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A42-40B0-B0A8-B5545CDBEE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3013112"/>
        <c:axId val="2133099480"/>
      </c:barChart>
      <c:lineChart>
        <c:grouping val="standard"/>
        <c:varyColors val="0"/>
        <c:ser>
          <c:idx val="0"/>
          <c:order val="0"/>
          <c:tx>
            <c:v>Pricing Over Time</c:v>
          </c:tx>
          <c:marker>
            <c:symbol val="none"/>
          </c:marker>
          <c:cat>
            <c:numRef>
              <c:f>'What-If Analysis'!$E$13:$P$13</c:f>
              <c:numCache>
                <c:formatCode>mmm\-yy</c:formatCode>
                <c:ptCount val="12"/>
                <c:pt idx="0">
                  <c:v>41821.0</c:v>
                </c:pt>
                <c:pt idx="1">
                  <c:v>41852.0</c:v>
                </c:pt>
                <c:pt idx="2">
                  <c:v>41883.0</c:v>
                </c:pt>
                <c:pt idx="3">
                  <c:v>41913.0</c:v>
                </c:pt>
                <c:pt idx="4">
                  <c:v>41944.0</c:v>
                </c:pt>
                <c:pt idx="5">
                  <c:v>41974.0</c:v>
                </c:pt>
                <c:pt idx="6">
                  <c:v>42005.0</c:v>
                </c:pt>
                <c:pt idx="7">
                  <c:v>42036.0</c:v>
                </c:pt>
                <c:pt idx="8">
                  <c:v>42064.0</c:v>
                </c:pt>
                <c:pt idx="9">
                  <c:v>42095.0</c:v>
                </c:pt>
                <c:pt idx="10">
                  <c:v>42125.0</c:v>
                </c:pt>
                <c:pt idx="11">
                  <c:v>42156.0</c:v>
                </c:pt>
              </c:numCache>
            </c:numRef>
          </c:cat>
          <c:val>
            <c:numRef>
              <c:f>'What-If Analysis'!$E$15:$P$15</c:f>
              <c:numCache>
                <c:formatCode>"$"#,##0.00;[Red]\-"$"#,##0.00</c:formatCode>
                <c:ptCount val="12"/>
                <c:pt idx="0">
                  <c:v>76.6027204301075</c:v>
                </c:pt>
                <c:pt idx="1">
                  <c:v>74.93254009856629</c:v>
                </c:pt>
                <c:pt idx="2">
                  <c:v>74.0663198232323</c:v>
                </c:pt>
                <c:pt idx="3">
                  <c:v>75.09314894393237</c:v>
                </c:pt>
                <c:pt idx="4">
                  <c:v>73.70095625450932</c:v>
                </c:pt>
                <c:pt idx="5">
                  <c:v>74.37665683040075</c:v>
                </c:pt>
                <c:pt idx="6">
                  <c:v>86.39175723537197</c:v>
                </c:pt>
                <c:pt idx="7">
                  <c:v>86.82949047586814</c:v>
                </c:pt>
                <c:pt idx="8">
                  <c:v>81.49989122823843</c:v>
                </c:pt>
                <c:pt idx="9">
                  <c:v>72.56923216871083</c:v>
                </c:pt>
                <c:pt idx="10">
                  <c:v>71.25935434122324</c:v>
                </c:pt>
                <c:pt idx="11">
                  <c:v>72.1565107996632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A42-40B0-B0A8-B5545CDBEE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33198200"/>
        <c:axId val="2133093224"/>
      </c:lineChart>
      <c:dateAx>
        <c:axId val="213319820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2133093224"/>
        <c:crosses val="autoZero"/>
        <c:auto val="1"/>
        <c:lblOffset val="100"/>
        <c:baseTimeUnit val="months"/>
      </c:dateAx>
      <c:valAx>
        <c:axId val="2133093224"/>
        <c:scaling>
          <c:orientation val="minMax"/>
        </c:scaling>
        <c:delete val="0"/>
        <c:axPos val="l"/>
        <c:majorGridlines/>
        <c:numFmt formatCode="&quot;$&quot;#,##0" sourceLinked="0"/>
        <c:majorTickMark val="out"/>
        <c:minorTickMark val="none"/>
        <c:tickLblPos val="nextTo"/>
        <c:crossAx val="2133198200"/>
        <c:crosses val="autoZero"/>
        <c:crossBetween val="between"/>
      </c:valAx>
      <c:valAx>
        <c:axId val="2133099480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crossAx val="2133013112"/>
        <c:crosses val="max"/>
        <c:crossBetween val="between"/>
      </c:valAx>
      <c:dateAx>
        <c:axId val="2133013112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2133099480"/>
        <c:crosses val="autoZero"/>
        <c:auto val="1"/>
        <c:lblOffset val="100"/>
        <c:baseTimeUnit val="months"/>
      </c:dateAx>
    </c:plotArea>
    <c:legend>
      <c:legendPos val="t"/>
      <c:layout>
        <c:manualLayout>
          <c:xMode val="edge"/>
          <c:yMode val="edge"/>
          <c:x val="0.187127952755905"/>
          <c:y val="0.192084942084942"/>
          <c:w val="0.620188538932633"/>
          <c:h val="0.0969252576536041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Cost</a:t>
            </a:r>
            <a:r>
              <a:rPr lang="en-US" b="1" baseline="0"/>
              <a:t> to Produce vs. WBMP Market Price</a:t>
            </a:r>
            <a:endParaRPr lang="en-US" b="1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conomic Cost Analysis'!$B$226</c:f>
              <c:strCache>
                <c:ptCount val="1"/>
                <c:pt idx="0">
                  <c:v>Overall Desalination Cost to Produce ($/ML)</c:v>
                </c:pt>
              </c:strCache>
            </c:strRef>
          </c:tx>
          <c:spPr>
            <a:solidFill>
              <a:srgbClr val="0000FF"/>
            </a:solidFill>
            <a:ln>
              <a:noFill/>
            </a:ln>
            <a:effectLst/>
          </c:spPr>
          <c:invertIfNegative val="0"/>
          <c:dLbls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conomic Cost Analysis'!$A$227:$A$229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conomic Cost Analysis'!$B$227:$B$229</c:f>
              <c:numCache>
                <c:formatCode>"$"#,##0.00;[Red]\-"$"#,##0.00</c:formatCode>
                <c:ptCount val="3"/>
                <c:pt idx="0" formatCode="&quot;$&quot;#,##0.00;[Red]\-&quot;$&quot;#,##0.00\ &quot;$/ML&quot;">
                  <c:v>25.00137400520988</c:v>
                </c:pt>
                <c:pt idx="1">
                  <c:v>54.2315065162098</c:v>
                </c:pt>
                <c:pt idx="2">
                  <c:v>35.804189198254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C67-4693-912A-73E871935B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2145265736"/>
        <c:axId val="2136700824"/>
      </c:barChart>
      <c:lineChart>
        <c:grouping val="standard"/>
        <c:varyColors val="0"/>
        <c:ser>
          <c:idx val="1"/>
          <c:order val="1"/>
          <c:tx>
            <c:strRef>
              <c:f>'Economic Cost Analysis'!$C$226</c:f>
              <c:strCache>
                <c:ptCount val="1"/>
                <c:pt idx="0">
                  <c:v>Overall Average WBMP Market Price</c:v>
                </c:pt>
              </c:strCache>
            </c:strRef>
          </c:tx>
          <c:spPr>
            <a:ln w="28575" cap="rnd">
              <a:solidFill>
                <a:schemeClr val="accent4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Economic Cost Analysis'!$A$227:$A$229</c:f>
              <c:strCache>
                <c:ptCount val="3"/>
                <c:pt idx="0">
                  <c:v>Kootha</c:v>
                </c:pt>
                <c:pt idx="1">
                  <c:v>Surjek</c:v>
                </c:pt>
                <c:pt idx="2">
                  <c:v>Jutik</c:v>
                </c:pt>
              </c:strCache>
            </c:strRef>
          </c:cat>
          <c:val>
            <c:numRef>
              <c:f>'Economic Cost Analysis'!$C$227:$C$229</c:f>
              <c:numCache>
                <c:formatCode>"$"#,##0.00;[Red]\-"$"#,##0.00</c:formatCode>
                <c:ptCount val="3"/>
                <c:pt idx="0">
                  <c:v>76.57768341657765</c:v>
                </c:pt>
                <c:pt idx="1">
                  <c:v>76.57768341657765</c:v>
                </c:pt>
                <c:pt idx="2">
                  <c:v>76.5776834165776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CC67-4693-912A-73E871935B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45265736"/>
        <c:axId val="2136700824"/>
      </c:lineChart>
      <c:catAx>
        <c:axId val="-2145265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6700824"/>
        <c:crosses val="autoZero"/>
        <c:auto val="1"/>
        <c:lblAlgn val="ctr"/>
        <c:lblOffset val="100"/>
        <c:noMultiLvlLbl val="0"/>
      </c:catAx>
      <c:valAx>
        <c:axId val="2136700824"/>
        <c:scaling>
          <c:orientation val="minMax"/>
        </c:scaling>
        <c:delete val="0"/>
        <c:axPos val="l"/>
        <c:numFmt formatCode="&quot;$&quot;#,##0.00;[Red]\-&quot;$&quot;#,##0.00\ &quot;$/ML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45265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04037430223367"/>
          <c:y val="0.102038863286724"/>
          <c:w val="0.747715736040609"/>
          <c:h val="0.12537494772706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Total Cost to Produce vs Kootha, Surjek, Jutik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Surjek CtP</c:v>
          </c:tx>
          <c:cat>
            <c:numRef>
              <c:f>'Economic Cost Analysis'!$G$49:$R$49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conomic Cost Analysis'!$G$33:$R$33</c:f>
              <c:numCache>
                <c:formatCode>"$"#,##0.00;[Red]\-"$"#,##0.00\ "$/ML"</c:formatCode>
                <c:ptCount val="12"/>
                <c:pt idx="0">
                  <c:v>52.7497044836042</c:v>
                </c:pt>
                <c:pt idx="1">
                  <c:v>59.8638788133856</c:v>
                </c:pt>
                <c:pt idx="2">
                  <c:v>63.76269028292973</c:v>
                </c:pt>
                <c:pt idx="3">
                  <c:v>78.18847272475335</c:v>
                </c:pt>
                <c:pt idx="4">
                  <c:v>86.29656511906223</c:v>
                </c:pt>
                <c:pt idx="5">
                  <c:v>53.94835357313447</c:v>
                </c:pt>
                <c:pt idx="6">
                  <c:v>48.54053190701133</c:v>
                </c:pt>
                <c:pt idx="7">
                  <c:v>53.6634853464152</c:v>
                </c:pt>
                <c:pt idx="8">
                  <c:v>40.83650074444132</c:v>
                </c:pt>
                <c:pt idx="9">
                  <c:v>45.84077798934759</c:v>
                </c:pt>
                <c:pt idx="10">
                  <c:v>52.15056777763202</c:v>
                </c:pt>
                <c:pt idx="11">
                  <c:v>32.6111033690409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053-4138-8A20-6F89F9627F74}"/>
            </c:ext>
          </c:extLst>
        </c:ser>
        <c:ser>
          <c:idx val="1"/>
          <c:order val="1"/>
          <c:tx>
            <c:v>Overall CtP</c:v>
          </c:tx>
          <c:cat>
            <c:numRef>
              <c:f>'Economic Cost Analysis'!$G$49:$R$49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conomic Cost Analysis'!$G$60:$R$60</c:f>
              <c:numCache>
                <c:formatCode>"$"#,##0.00;[Red]\-"$"#,##0.00</c:formatCode>
                <c:ptCount val="12"/>
                <c:pt idx="0">
                  <c:v>35.4895180180268</c:v>
                </c:pt>
                <c:pt idx="1">
                  <c:v>40.08339241484487</c:v>
                </c:pt>
                <c:pt idx="2">
                  <c:v>43.72324919316083</c:v>
                </c:pt>
                <c:pt idx="3">
                  <c:v>48.88663635634194</c:v>
                </c:pt>
                <c:pt idx="4">
                  <c:v>56.0881022302274</c:v>
                </c:pt>
                <c:pt idx="5">
                  <c:v>39.04484205371901</c:v>
                </c:pt>
                <c:pt idx="6">
                  <c:v>38.91851417405534</c:v>
                </c:pt>
                <c:pt idx="7">
                  <c:v>41.54331962767058</c:v>
                </c:pt>
                <c:pt idx="8">
                  <c:v>35.58592682037434</c:v>
                </c:pt>
                <c:pt idx="9">
                  <c:v>35.92820836041636</c:v>
                </c:pt>
                <c:pt idx="10">
                  <c:v>41.01391375828682</c:v>
                </c:pt>
                <c:pt idx="11">
                  <c:v>37.4182786535872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1053-4138-8A20-6F89F9627F74}"/>
            </c:ext>
          </c:extLst>
        </c:ser>
        <c:ser>
          <c:idx val="2"/>
          <c:order val="2"/>
          <c:tx>
            <c:v>Jutik CtP</c:v>
          </c:tx>
          <c:cat>
            <c:numRef>
              <c:f>'Economic Cost Analysis'!$G$49:$R$49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conomic Cost Analysis'!$G$44:$R$44</c:f>
              <c:numCache>
                <c:formatCode>"$"#,##0.00;[Red]\-"$"#,##0.00\ "$/ML"</c:formatCode>
                <c:ptCount val="12"/>
                <c:pt idx="0">
                  <c:v>32.6443957213097</c:v>
                </c:pt>
                <c:pt idx="1">
                  <c:v>31.47912422914456</c:v>
                </c:pt>
                <c:pt idx="2">
                  <c:v>43.71643037678592</c:v>
                </c:pt>
                <c:pt idx="3">
                  <c:v>42.43746104752959</c:v>
                </c:pt>
                <c:pt idx="4">
                  <c:v>30.83230682224963</c:v>
                </c:pt>
                <c:pt idx="5">
                  <c:v>40.05660712131485</c:v>
                </c:pt>
                <c:pt idx="6">
                  <c:v>35.25264343280043</c:v>
                </c:pt>
                <c:pt idx="7">
                  <c:v>34.40970474928254</c:v>
                </c:pt>
                <c:pt idx="8">
                  <c:v>37.62579374746247</c:v>
                </c:pt>
                <c:pt idx="9">
                  <c:v>28.47337711607425</c:v>
                </c:pt>
                <c:pt idx="10">
                  <c:v>33.59781913685286</c:v>
                </c:pt>
                <c:pt idx="11">
                  <c:v>43.016148904686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1053-4138-8A20-6F89F9627F74}"/>
            </c:ext>
          </c:extLst>
        </c:ser>
        <c:ser>
          <c:idx val="3"/>
          <c:order val="3"/>
          <c:tx>
            <c:v>Kootha CtP</c:v>
          </c:tx>
          <c:cat>
            <c:numRef>
              <c:f>'Economic Cost Analysis'!$G$49:$R$49</c:f>
              <c:numCache>
                <c:formatCode>mmm\-yy</c:formatCode>
                <c:ptCount val="12"/>
                <c:pt idx="0">
                  <c:v>41456.0</c:v>
                </c:pt>
                <c:pt idx="1">
                  <c:v>41487.0</c:v>
                </c:pt>
                <c:pt idx="2">
                  <c:v>41518.0</c:v>
                </c:pt>
                <c:pt idx="3">
                  <c:v>41548.0</c:v>
                </c:pt>
                <c:pt idx="4">
                  <c:v>41579.0</c:v>
                </c:pt>
                <c:pt idx="5">
                  <c:v>41609.0</c:v>
                </c:pt>
                <c:pt idx="6">
                  <c:v>41640.0</c:v>
                </c:pt>
                <c:pt idx="7">
                  <c:v>41671.0</c:v>
                </c:pt>
                <c:pt idx="8">
                  <c:v>41699.0</c:v>
                </c:pt>
                <c:pt idx="9">
                  <c:v>41730.0</c:v>
                </c:pt>
                <c:pt idx="10">
                  <c:v>41760.0</c:v>
                </c:pt>
                <c:pt idx="11">
                  <c:v>41791.0</c:v>
                </c:pt>
              </c:numCache>
            </c:numRef>
          </c:cat>
          <c:val>
            <c:numRef>
              <c:f>'Economic Cost Analysis'!$G$22:$R$22</c:f>
              <c:numCache>
                <c:formatCode>"$"#,##0.00;[Red]\-"$"#,##0.00\ "$/ML"</c:formatCode>
                <c:ptCount val="12"/>
                <c:pt idx="0">
                  <c:v>19.0085544604031</c:v>
                </c:pt>
                <c:pt idx="1">
                  <c:v>25.49217262305256</c:v>
                </c:pt>
                <c:pt idx="2">
                  <c:v>20.24643081435637</c:v>
                </c:pt>
                <c:pt idx="3">
                  <c:v>18.53820889782056</c:v>
                </c:pt>
                <c:pt idx="4">
                  <c:v>37.17318873459212</c:v>
                </c:pt>
                <c:pt idx="5">
                  <c:v>18.92657125933438</c:v>
                </c:pt>
                <c:pt idx="6">
                  <c:v>28.08871016504051</c:v>
                </c:pt>
                <c:pt idx="7">
                  <c:v>27.86987099656456</c:v>
                </c:pt>
                <c:pt idx="8">
                  <c:v>23.03887555169003</c:v>
                </c:pt>
                <c:pt idx="9">
                  <c:v>25.83514265328515</c:v>
                </c:pt>
                <c:pt idx="10">
                  <c:v>27.72096623671467</c:v>
                </c:pt>
                <c:pt idx="11">
                  <c:v>37.542526065045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1053-4138-8A20-6F89F9627F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45128360"/>
        <c:axId val="-2145143400"/>
      </c:lineChart>
      <c:dateAx>
        <c:axId val="-214512836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-2145143400"/>
        <c:crosses val="autoZero"/>
        <c:auto val="1"/>
        <c:lblOffset val="100"/>
        <c:baseTimeUnit val="months"/>
      </c:dateAx>
      <c:valAx>
        <c:axId val="-2145143400"/>
        <c:scaling>
          <c:orientation val="minMax"/>
        </c:scaling>
        <c:delete val="0"/>
        <c:axPos val="l"/>
        <c:majorGridlines/>
        <c:numFmt formatCode="&quot;$&quot;#,##0" sourceLinked="0"/>
        <c:majorTickMark val="out"/>
        <c:minorTickMark val="none"/>
        <c:tickLblPos val="nextTo"/>
        <c:crossAx val="-2145128360"/>
        <c:crosses val="autoZero"/>
        <c:crossBetween val="between"/>
      </c:valAx>
    </c:plotArea>
    <c:legend>
      <c:legendPos val="t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dirty="0" err="1"/>
              <a:t>Kootha</a:t>
            </a:r>
            <a:r>
              <a:rPr lang="en-US" sz="1200" dirty="0"/>
              <a:t> </a:t>
            </a:r>
            <a:r>
              <a:rPr lang="en-US" sz="1200" b="1" i="0" baseline="0" dirty="0" err="1">
                <a:effectLst/>
              </a:rPr>
              <a:t>Jutik</a:t>
            </a:r>
            <a:r>
              <a:rPr lang="en-US" sz="1200" b="1" i="0" baseline="0" dirty="0">
                <a:effectLst/>
              </a:rPr>
              <a:t> Cost to Produce vs. Water Volume in Giga </a:t>
            </a:r>
            <a:r>
              <a:rPr lang="en-US" sz="1200" b="1" i="0" baseline="0" dirty="0" err="1">
                <a:effectLst/>
              </a:rPr>
              <a:t>Litres</a:t>
            </a:r>
            <a:endParaRPr lang="en-US" sz="1200" dirty="0">
              <a:effectLst/>
            </a:endParaRPr>
          </a:p>
        </c:rich>
      </c:tx>
      <c:layout/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v>Kootha CtP v Vol</c:v>
          </c:tx>
          <c:spPr>
            <a:ln w="31750">
              <a:noFill/>
            </a:ln>
          </c:spPr>
          <c:marker>
            <c:spPr>
              <a:solidFill>
                <a:srgbClr val="0000FF"/>
              </a:solidFill>
            </c:spPr>
          </c:marker>
          <c:xVal>
            <c:numRef>
              <c:f>'Economic Cost Analysis'!$G$21:$R$21</c:f>
              <c:numCache>
                <c:formatCode>#,##0.00</c:formatCode>
                <c:ptCount val="12"/>
                <c:pt idx="0">
                  <c:v>181.933291</c:v>
                </c:pt>
                <c:pt idx="1">
                  <c:v>187.443943</c:v>
                </c:pt>
                <c:pt idx="2">
                  <c:v>184.773657</c:v>
                </c:pt>
                <c:pt idx="3">
                  <c:v>191.541093</c:v>
                </c:pt>
                <c:pt idx="4">
                  <c:v>98.096062</c:v>
                </c:pt>
                <c:pt idx="5">
                  <c:v>185.306853</c:v>
                </c:pt>
                <c:pt idx="6">
                  <c:v>186.901439</c:v>
                </c:pt>
                <c:pt idx="7">
                  <c:v>158.586765</c:v>
                </c:pt>
                <c:pt idx="8">
                  <c:v>191.403676</c:v>
                </c:pt>
                <c:pt idx="9">
                  <c:v>171.057864</c:v>
                </c:pt>
                <c:pt idx="10">
                  <c:v>169.286999</c:v>
                </c:pt>
                <c:pt idx="11">
                  <c:v>142.508717</c:v>
                </c:pt>
              </c:numCache>
            </c:numRef>
          </c:xVal>
          <c:yVal>
            <c:numRef>
              <c:f>'Economic Cost Analysis'!$G$22:$R$22</c:f>
              <c:numCache>
                <c:formatCode>"$"#,##0.00;[Red]\-"$"#,##0.00\ "$/ML"</c:formatCode>
                <c:ptCount val="12"/>
                <c:pt idx="0">
                  <c:v>19.0085544604031</c:v>
                </c:pt>
                <c:pt idx="1">
                  <c:v>25.49217262305256</c:v>
                </c:pt>
                <c:pt idx="2">
                  <c:v>20.24643081435637</c:v>
                </c:pt>
                <c:pt idx="3">
                  <c:v>18.53820889782056</c:v>
                </c:pt>
                <c:pt idx="4">
                  <c:v>37.17318873459212</c:v>
                </c:pt>
                <c:pt idx="5">
                  <c:v>18.92657125933438</c:v>
                </c:pt>
                <c:pt idx="6">
                  <c:v>28.08871016504051</c:v>
                </c:pt>
                <c:pt idx="7">
                  <c:v>27.86987099656456</c:v>
                </c:pt>
                <c:pt idx="8">
                  <c:v>23.03887555169003</c:v>
                </c:pt>
                <c:pt idx="9">
                  <c:v>25.83514265328515</c:v>
                </c:pt>
                <c:pt idx="10">
                  <c:v>27.72096623671467</c:v>
                </c:pt>
                <c:pt idx="11">
                  <c:v>37.5425260650459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EF00-4F7F-8F23-25F70A9A78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2820616"/>
        <c:axId val="-2113686776"/>
      </c:scatterChart>
      <c:valAx>
        <c:axId val="2132820616"/>
        <c:scaling>
          <c:orientation val="minMax"/>
        </c:scaling>
        <c:delete val="0"/>
        <c:axPos val="b"/>
        <c:majorGridlines/>
        <c:numFmt formatCode="#,##0" sourceLinked="0"/>
        <c:majorTickMark val="out"/>
        <c:minorTickMark val="none"/>
        <c:tickLblPos val="nextTo"/>
        <c:crossAx val="-2113686776"/>
        <c:crosses val="autoZero"/>
        <c:crossBetween val="midCat"/>
      </c:valAx>
      <c:valAx>
        <c:axId val="-2113686776"/>
        <c:scaling>
          <c:orientation val="minMax"/>
        </c:scaling>
        <c:delete val="0"/>
        <c:axPos val="l"/>
        <c:majorGridlines/>
        <c:numFmt formatCode="&quot;$&quot;#,##0" sourceLinked="0"/>
        <c:majorTickMark val="out"/>
        <c:minorTickMark val="none"/>
        <c:tickLblPos val="nextTo"/>
        <c:crossAx val="2132820616"/>
        <c:crosses val="autoZero"/>
        <c:crossBetween val="midCat"/>
      </c:valAx>
    </c:plotArea>
    <c:legend>
      <c:legendPos val="t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dirty="0" err="1"/>
              <a:t>Surjek</a:t>
            </a:r>
            <a:r>
              <a:rPr lang="en-US" sz="1200" dirty="0"/>
              <a:t> Cost to Produce vs. Water Volume in Giga </a:t>
            </a:r>
            <a:r>
              <a:rPr lang="en-US" sz="1200" dirty="0" err="1"/>
              <a:t>Litres</a:t>
            </a:r>
            <a:endParaRPr lang="en-US" sz="1200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46344909271661"/>
          <c:y val="0.221123109448627"/>
          <c:w val="0.772294782226106"/>
          <c:h val="0.716578418237786"/>
        </c:manualLayout>
      </c:layout>
      <c:scatterChart>
        <c:scatterStyle val="lineMarker"/>
        <c:varyColors val="0"/>
        <c:ser>
          <c:idx val="0"/>
          <c:order val="0"/>
          <c:tx>
            <c:v>Surjek CtP v Vol</c:v>
          </c:tx>
          <c:spPr>
            <a:ln w="31750">
              <a:noFill/>
            </a:ln>
          </c:spPr>
          <c:marker>
            <c:spPr>
              <a:solidFill>
                <a:srgbClr val="0000FF"/>
              </a:solidFill>
            </c:spPr>
          </c:marker>
          <c:xVal>
            <c:numRef>
              <c:f>'Economic Cost Analysis'!$G$32:$R$32</c:f>
              <c:numCache>
                <c:formatCode>#,##0.00</c:formatCode>
                <c:ptCount val="12"/>
                <c:pt idx="0">
                  <c:v>214.968999</c:v>
                </c:pt>
                <c:pt idx="1">
                  <c:v>228.199051</c:v>
                </c:pt>
                <c:pt idx="2">
                  <c:v>216.536467</c:v>
                </c:pt>
                <c:pt idx="3">
                  <c:v>236.760276</c:v>
                </c:pt>
                <c:pt idx="4">
                  <c:v>232.052864</c:v>
                </c:pt>
                <c:pt idx="5">
                  <c:v>240.21016</c:v>
                </c:pt>
                <c:pt idx="6">
                  <c:v>288.160549</c:v>
                </c:pt>
                <c:pt idx="7">
                  <c:v>306.884524</c:v>
                </c:pt>
                <c:pt idx="8">
                  <c:v>367.6510060000001</c:v>
                </c:pt>
                <c:pt idx="9">
                  <c:v>351.990166</c:v>
                </c:pt>
                <c:pt idx="10">
                  <c:v>362.822</c:v>
                </c:pt>
                <c:pt idx="11">
                  <c:v>260.3123</c:v>
                </c:pt>
              </c:numCache>
            </c:numRef>
          </c:xVal>
          <c:yVal>
            <c:numRef>
              <c:f>'Economic Cost Analysis'!$G$33:$R$33</c:f>
              <c:numCache>
                <c:formatCode>"$"#,##0.00;[Red]\-"$"#,##0.00\ "$/ML"</c:formatCode>
                <c:ptCount val="12"/>
                <c:pt idx="0">
                  <c:v>52.7497044836042</c:v>
                </c:pt>
                <c:pt idx="1">
                  <c:v>59.8638788133856</c:v>
                </c:pt>
                <c:pt idx="2">
                  <c:v>63.76269028292973</c:v>
                </c:pt>
                <c:pt idx="3">
                  <c:v>78.18847272475335</c:v>
                </c:pt>
                <c:pt idx="4">
                  <c:v>86.29656511906223</c:v>
                </c:pt>
                <c:pt idx="5">
                  <c:v>53.94835357313447</c:v>
                </c:pt>
                <c:pt idx="6">
                  <c:v>48.54053190701133</c:v>
                </c:pt>
                <c:pt idx="7">
                  <c:v>53.6634853464152</c:v>
                </c:pt>
                <c:pt idx="8">
                  <c:v>40.83650074444132</c:v>
                </c:pt>
                <c:pt idx="9">
                  <c:v>45.84077798934759</c:v>
                </c:pt>
                <c:pt idx="10">
                  <c:v>52.15056777763202</c:v>
                </c:pt>
                <c:pt idx="11">
                  <c:v>32.61110336904095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9760-44B5-AFF8-D16EF83611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7434040"/>
        <c:axId val="2137141544"/>
      </c:scatterChart>
      <c:valAx>
        <c:axId val="2137434040"/>
        <c:scaling>
          <c:orientation val="minMax"/>
        </c:scaling>
        <c:delete val="0"/>
        <c:axPos val="b"/>
        <c:majorGridlines/>
        <c:numFmt formatCode="#,##0" sourceLinked="0"/>
        <c:majorTickMark val="out"/>
        <c:minorTickMark val="none"/>
        <c:tickLblPos val="nextTo"/>
        <c:crossAx val="2137141544"/>
        <c:crosses val="autoZero"/>
        <c:crossBetween val="midCat"/>
      </c:valAx>
      <c:valAx>
        <c:axId val="2137141544"/>
        <c:scaling>
          <c:orientation val="minMax"/>
        </c:scaling>
        <c:delete val="0"/>
        <c:axPos val="l"/>
        <c:majorGridlines/>
        <c:numFmt formatCode="&quot;$&quot;#,##0" sourceLinked="0"/>
        <c:majorTickMark val="out"/>
        <c:minorTickMark val="none"/>
        <c:tickLblPos val="nextTo"/>
        <c:crossAx val="2137434040"/>
        <c:crosses val="autoZero"/>
        <c:crossBetween val="midCat"/>
      </c:valAx>
    </c:plotArea>
    <c:legend>
      <c:legendPos val="t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200" b="1" i="0" baseline="0" dirty="0" err="1">
                <a:effectLst/>
              </a:rPr>
              <a:t>Jutik</a:t>
            </a:r>
            <a:r>
              <a:rPr lang="en-US" sz="1200" b="1" i="0" baseline="0" dirty="0">
                <a:effectLst/>
              </a:rPr>
              <a:t> Cost to Produce vs. Water Volume in Giga </a:t>
            </a:r>
            <a:r>
              <a:rPr lang="en-US" sz="1200" b="1" i="0" baseline="0" dirty="0" err="1">
                <a:effectLst/>
              </a:rPr>
              <a:t>Litres</a:t>
            </a:r>
            <a:endParaRPr lang="en-US" sz="1200" dirty="0">
              <a:effectLst/>
            </a:endParaRP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 dirty="0"/>
          </a:p>
        </c:rich>
      </c:tx>
      <c:layout>
        <c:manualLayout>
          <c:xMode val="edge"/>
          <c:yMode val="edge"/>
          <c:x val="0.119945816847204"/>
          <c:y val="0.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49819633098057"/>
          <c:y val="0.224261584380703"/>
          <c:w val="0.753224021831119"/>
          <c:h val="0.712269997806009"/>
        </c:manualLayout>
      </c:layout>
      <c:scatterChart>
        <c:scatterStyle val="lineMarker"/>
        <c:varyColors val="0"/>
        <c:ser>
          <c:idx val="0"/>
          <c:order val="0"/>
          <c:tx>
            <c:v>Jutik CtP v Vol</c:v>
          </c:tx>
          <c:spPr>
            <a:ln w="31750">
              <a:noFill/>
            </a:ln>
          </c:spPr>
          <c:marker>
            <c:spPr>
              <a:solidFill>
                <a:srgbClr val="0000FF"/>
              </a:solidFill>
            </c:spPr>
          </c:marker>
          <c:xVal>
            <c:numRef>
              <c:f>'Economic Cost Analysis'!$G$43:$R$43</c:f>
              <c:numCache>
                <c:formatCode>#,##0.00</c:formatCode>
                <c:ptCount val="12"/>
                <c:pt idx="0">
                  <c:v>250.241991</c:v>
                </c:pt>
                <c:pt idx="1">
                  <c:v>206.740703</c:v>
                </c:pt>
                <c:pt idx="2">
                  <c:v>201.235461</c:v>
                </c:pt>
                <c:pt idx="3">
                  <c:v>174.369566</c:v>
                </c:pt>
                <c:pt idx="4">
                  <c:v>204.09105</c:v>
                </c:pt>
                <c:pt idx="5">
                  <c:v>146.356666</c:v>
                </c:pt>
                <c:pt idx="6">
                  <c:v>204.202497</c:v>
                </c:pt>
                <c:pt idx="7">
                  <c:v>217.430199</c:v>
                </c:pt>
                <c:pt idx="8">
                  <c:v>230.9822</c:v>
                </c:pt>
                <c:pt idx="9">
                  <c:v>236.441136</c:v>
                </c:pt>
                <c:pt idx="10">
                  <c:v>241.407369</c:v>
                </c:pt>
                <c:pt idx="11">
                  <c:v>220.380334</c:v>
                </c:pt>
              </c:numCache>
            </c:numRef>
          </c:xVal>
          <c:yVal>
            <c:numRef>
              <c:f>'Economic Cost Analysis'!$G$44:$R$44</c:f>
              <c:numCache>
                <c:formatCode>"$"#,##0.00;[Red]\-"$"#,##0.00\ "$/ML"</c:formatCode>
                <c:ptCount val="12"/>
                <c:pt idx="0">
                  <c:v>32.6443957213097</c:v>
                </c:pt>
                <c:pt idx="1">
                  <c:v>31.47912422914456</c:v>
                </c:pt>
                <c:pt idx="2">
                  <c:v>43.71643037678592</c:v>
                </c:pt>
                <c:pt idx="3">
                  <c:v>42.43746104752959</c:v>
                </c:pt>
                <c:pt idx="4">
                  <c:v>30.83230682224963</c:v>
                </c:pt>
                <c:pt idx="5">
                  <c:v>40.05660712131485</c:v>
                </c:pt>
                <c:pt idx="6">
                  <c:v>35.25264343280043</c:v>
                </c:pt>
                <c:pt idx="7">
                  <c:v>34.40970474928254</c:v>
                </c:pt>
                <c:pt idx="8">
                  <c:v>37.62579374746247</c:v>
                </c:pt>
                <c:pt idx="9">
                  <c:v>28.47337711607425</c:v>
                </c:pt>
                <c:pt idx="10">
                  <c:v>33.59781913685286</c:v>
                </c:pt>
                <c:pt idx="11">
                  <c:v>43.0161489046863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3745-417A-BC4F-CC709302DC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39404168"/>
        <c:axId val="-2110184088"/>
      </c:scatterChart>
      <c:valAx>
        <c:axId val="-2139404168"/>
        <c:scaling>
          <c:orientation val="minMax"/>
        </c:scaling>
        <c:delete val="0"/>
        <c:axPos val="b"/>
        <c:majorGridlines/>
        <c:numFmt formatCode="#,##0" sourceLinked="0"/>
        <c:majorTickMark val="out"/>
        <c:minorTickMark val="none"/>
        <c:tickLblPos val="nextTo"/>
        <c:crossAx val="-2110184088"/>
        <c:crosses val="autoZero"/>
        <c:crossBetween val="midCat"/>
      </c:valAx>
      <c:valAx>
        <c:axId val="-2110184088"/>
        <c:scaling>
          <c:orientation val="minMax"/>
        </c:scaling>
        <c:delete val="0"/>
        <c:axPos val="l"/>
        <c:majorGridlines/>
        <c:numFmt formatCode="&quot;$&quot;#,##0" sourceLinked="0"/>
        <c:majorTickMark val="out"/>
        <c:minorTickMark val="none"/>
        <c:tickLblPos val="nextTo"/>
        <c:crossAx val="-2139404168"/>
        <c:crosses val="autoZero"/>
        <c:crossBetween val="midCat"/>
      </c:valAx>
    </c:plotArea>
    <c:legend>
      <c:legendPos val="t"/>
      <c:layout>
        <c:manualLayout>
          <c:xMode val="edge"/>
          <c:yMode val="edge"/>
          <c:x val="0.283736211213442"/>
          <c:y val="0.0872166203479761"/>
          <c:w val="0.413964695444493"/>
          <c:h val="0.0483071235624021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dirty="0"/>
              <a:t>Avg. Quantity Water </a:t>
            </a:r>
            <a:r>
              <a:rPr lang="en-US" sz="1200" dirty="0" err="1"/>
              <a:t>vs</a:t>
            </a:r>
            <a:r>
              <a:rPr lang="en-US" sz="1200" dirty="0"/>
              <a:t> Price</a:t>
            </a:r>
          </a:p>
          <a:p>
            <a:pPr>
              <a:defRPr/>
            </a:pPr>
            <a:r>
              <a:rPr lang="en-US" sz="1200" dirty="0"/>
              <a:t>Soft AND Hard</a:t>
            </a:r>
          </a:p>
        </c:rich>
      </c:tx>
      <c:layout/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v>Avg. Quantity Water</c:v>
          </c:tx>
          <c:spPr>
            <a:ln w="31750">
              <a:noFill/>
            </a:ln>
          </c:spPr>
          <c:marker>
            <c:spPr>
              <a:solidFill>
                <a:srgbClr val="0000FF"/>
              </a:solidFill>
            </c:spPr>
          </c:marker>
          <c:xVal>
            <c:numRef>
              <c:f>'Economic Market Analysis'!$C$15:$N$15</c:f>
              <c:numCache>
                <c:formatCode>"$"#,##0.00</c:formatCode>
                <c:ptCount val="12"/>
                <c:pt idx="0">
                  <c:v>86.39175723537197</c:v>
                </c:pt>
                <c:pt idx="1">
                  <c:v>86.82949047586814</c:v>
                </c:pt>
                <c:pt idx="2">
                  <c:v>81.49989122823843</c:v>
                </c:pt>
                <c:pt idx="3">
                  <c:v>72.56923216871083</c:v>
                </c:pt>
                <c:pt idx="4">
                  <c:v>71.25935434122324</c:v>
                </c:pt>
                <c:pt idx="5">
                  <c:v>72.15651079966325</c:v>
                </c:pt>
                <c:pt idx="6">
                  <c:v>76.6027204301075</c:v>
                </c:pt>
                <c:pt idx="7">
                  <c:v>74.93254009856629</c:v>
                </c:pt>
                <c:pt idx="8">
                  <c:v>74.0663198232323</c:v>
                </c:pt>
                <c:pt idx="9">
                  <c:v>75.09314894393237</c:v>
                </c:pt>
                <c:pt idx="10">
                  <c:v>73.70095625450932</c:v>
                </c:pt>
                <c:pt idx="11">
                  <c:v>74.37665683040075</c:v>
                </c:pt>
              </c:numCache>
            </c:numRef>
          </c:xVal>
          <c:yVal>
            <c:numRef>
              <c:f>'Economic Market Analysis'!$C$16:$N$16</c:f>
              <c:numCache>
                <c:formatCode>#,##0.00</c:formatCode>
                <c:ptCount val="12"/>
                <c:pt idx="0">
                  <c:v>2298.190158965397</c:v>
                </c:pt>
                <c:pt idx="1">
                  <c:v>2406.091896211103</c:v>
                </c:pt>
                <c:pt idx="2">
                  <c:v>2127.814543270976</c:v>
                </c:pt>
                <c:pt idx="3">
                  <c:v>2185.799754226371</c:v>
                </c:pt>
                <c:pt idx="4">
                  <c:v>2145.783718866106</c:v>
                </c:pt>
                <c:pt idx="5">
                  <c:v>2229.749661144261</c:v>
                </c:pt>
                <c:pt idx="6">
                  <c:v>2283.050247252767</c:v>
                </c:pt>
                <c:pt idx="7">
                  <c:v>2201.059245881507</c:v>
                </c:pt>
                <c:pt idx="8">
                  <c:v>2153.343185089953</c:v>
                </c:pt>
                <c:pt idx="9">
                  <c:v>2098.99138126178</c:v>
                </c:pt>
                <c:pt idx="10">
                  <c:v>2200.929328992666</c:v>
                </c:pt>
                <c:pt idx="11">
                  <c:v>2312.199539761142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C860-424E-BAD2-75F05C3226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13565656"/>
        <c:axId val="2133112440"/>
      </c:scatterChart>
      <c:valAx>
        <c:axId val="-2113565656"/>
        <c:scaling>
          <c:orientation val="minMax"/>
        </c:scaling>
        <c:delete val="0"/>
        <c:axPos val="b"/>
        <c:majorGridlines/>
        <c:numFmt formatCode="&quot;$&quot;#,##0" sourceLinked="0"/>
        <c:majorTickMark val="none"/>
        <c:minorTickMark val="none"/>
        <c:tickLblPos val="nextTo"/>
        <c:crossAx val="2133112440"/>
        <c:crosses val="autoZero"/>
        <c:crossBetween val="midCat"/>
      </c:valAx>
      <c:valAx>
        <c:axId val="2133112440"/>
        <c:scaling>
          <c:orientation val="minMax"/>
        </c:scaling>
        <c:delete val="0"/>
        <c:axPos val="l"/>
        <c:majorGridlines/>
        <c:numFmt formatCode="#,##0" sourceLinked="0"/>
        <c:majorTickMark val="none"/>
        <c:minorTickMark val="none"/>
        <c:tickLblPos val="nextTo"/>
        <c:crossAx val="-2113565656"/>
        <c:crosses val="autoZero"/>
        <c:crossBetween val="midCat"/>
      </c:valAx>
    </c:plotArea>
    <c:legend>
      <c:legendPos val="t"/>
      <c:layout>
        <c:manualLayout>
          <c:xMode val="edge"/>
          <c:yMode val="edge"/>
          <c:x val="0.242580275049438"/>
          <c:y val="0.0923052427002599"/>
          <c:w val="0.514839108834911"/>
          <c:h val="0.0453278385276418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dirty="0"/>
              <a:t>Avg. Quantity Water </a:t>
            </a:r>
            <a:r>
              <a:rPr lang="en-US" sz="1200" dirty="0" err="1"/>
              <a:t>vs</a:t>
            </a:r>
            <a:r>
              <a:rPr lang="en-US" sz="1200" dirty="0"/>
              <a:t> Price</a:t>
            </a:r>
          </a:p>
          <a:p>
            <a:pPr>
              <a:defRPr/>
            </a:pPr>
            <a:r>
              <a:rPr lang="en-US" sz="1200" dirty="0"/>
              <a:t>HARD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210589154425271"/>
          <c:y val="0.191767197674596"/>
          <c:w val="0.668249598756512"/>
          <c:h val="0.748415245478668"/>
        </c:manualLayout>
      </c:layout>
      <c:scatterChart>
        <c:scatterStyle val="lineMarker"/>
        <c:varyColors val="0"/>
        <c:ser>
          <c:idx val="0"/>
          <c:order val="0"/>
          <c:tx>
            <c:v>Avg Quantity Water</c:v>
          </c:tx>
          <c:spPr>
            <a:ln w="31750">
              <a:noFill/>
            </a:ln>
          </c:spPr>
          <c:marker>
            <c:spPr>
              <a:solidFill>
                <a:srgbClr val="0000FF"/>
              </a:solidFill>
            </c:spPr>
          </c:marker>
          <c:xVal>
            <c:numRef>
              <c:f>'Economic Market Analysis'!$C$18:$N$18</c:f>
              <c:numCache>
                <c:formatCode>"$"#,##0.00</c:formatCode>
                <c:ptCount val="12"/>
                <c:pt idx="0">
                  <c:v>110.4838154238231</c:v>
                </c:pt>
                <c:pt idx="1">
                  <c:v>110.6272042297976</c:v>
                </c:pt>
                <c:pt idx="2">
                  <c:v>110.5581880673087</c:v>
                </c:pt>
                <c:pt idx="3">
                  <c:v>93.17518584656078</c:v>
                </c:pt>
                <c:pt idx="4">
                  <c:v>93.4089104291765</c:v>
                </c:pt>
                <c:pt idx="5">
                  <c:v>92.85121144781142</c:v>
                </c:pt>
                <c:pt idx="6">
                  <c:v>92.80956765232975</c:v>
                </c:pt>
                <c:pt idx="7">
                  <c:v>93.14548020527855</c:v>
                </c:pt>
                <c:pt idx="8">
                  <c:v>92.9892208333333</c:v>
                </c:pt>
                <c:pt idx="9">
                  <c:v>92.82357718894006</c:v>
                </c:pt>
                <c:pt idx="10">
                  <c:v>93.02985434704179</c:v>
                </c:pt>
                <c:pt idx="11">
                  <c:v>93.23293548387091</c:v>
                </c:pt>
              </c:numCache>
            </c:numRef>
          </c:xVal>
          <c:yVal>
            <c:numRef>
              <c:f>'Economic Market Analysis'!$C$19:$N$19</c:f>
              <c:numCache>
                <c:formatCode>#,##0.00</c:formatCode>
                <c:ptCount val="12"/>
                <c:pt idx="0">
                  <c:v>2391.375882482711</c:v>
                </c:pt>
                <c:pt idx="1">
                  <c:v>2533.268900330375</c:v>
                </c:pt>
                <c:pt idx="2">
                  <c:v>2203.744261877104</c:v>
                </c:pt>
                <c:pt idx="3">
                  <c:v>2349.514118568186</c:v>
                </c:pt>
                <c:pt idx="4">
                  <c:v>2243.584512119523</c:v>
                </c:pt>
                <c:pt idx="5">
                  <c:v>2359.314957759306</c:v>
                </c:pt>
                <c:pt idx="6">
                  <c:v>2443.265200822743</c:v>
                </c:pt>
                <c:pt idx="7">
                  <c:v>2300.848592697476</c:v>
                </c:pt>
                <c:pt idx="8">
                  <c:v>2261.342437458953</c:v>
                </c:pt>
                <c:pt idx="9">
                  <c:v>2188.7956099698</c:v>
                </c:pt>
                <c:pt idx="10">
                  <c:v>2303.437471815605</c:v>
                </c:pt>
                <c:pt idx="11">
                  <c:v>2443.600506147413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96A8-481A-8AF1-29A7C6B9DA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04585752"/>
        <c:axId val="-2104582664"/>
      </c:scatterChart>
      <c:valAx>
        <c:axId val="-2104585752"/>
        <c:scaling>
          <c:orientation val="minMax"/>
        </c:scaling>
        <c:delete val="0"/>
        <c:axPos val="b"/>
        <c:majorGridlines/>
        <c:numFmt formatCode="&quot;$&quot;#,##0" sourceLinked="0"/>
        <c:majorTickMark val="none"/>
        <c:minorTickMark val="none"/>
        <c:tickLblPos val="nextTo"/>
        <c:crossAx val="-2104582664"/>
        <c:crosses val="autoZero"/>
        <c:crossBetween val="midCat"/>
      </c:valAx>
      <c:valAx>
        <c:axId val="-2104582664"/>
        <c:scaling>
          <c:orientation val="minMax"/>
        </c:scaling>
        <c:delete val="0"/>
        <c:axPos val="l"/>
        <c:majorGridlines/>
        <c:numFmt formatCode="#,##0" sourceLinked="0"/>
        <c:majorTickMark val="none"/>
        <c:minorTickMark val="none"/>
        <c:tickLblPos val="nextTo"/>
        <c:crossAx val="-2104585752"/>
        <c:crosses val="autoZero"/>
        <c:crossBetween val="midCat"/>
      </c:valAx>
    </c:plotArea>
    <c:legend>
      <c:legendPos val="t"/>
      <c:layout>
        <c:manualLayout>
          <c:xMode val="edge"/>
          <c:yMode val="edge"/>
          <c:x val="0.190429016230973"/>
          <c:y val="0.127122609603525"/>
          <c:w val="0.598405883707147"/>
          <c:h val="0.045528377882319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B2C4C2-2D36-4DCE-92DC-7F8FD612207D}" type="datetimeFigureOut">
              <a:rPr lang="en-AU" smtClean="0"/>
              <a:t>6/25/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352E8-A3D8-466D-9C64-BEFAB9E6BDD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4567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964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4030876" y="13215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4030876" y="436846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2/27/2017 7:03 AM Ind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4030876" y="277771"/>
            <a:ext cx="29222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800" baseline="0" noProof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0/03/2017 4:54 PM W. Australia Standard Time</a:t>
            </a:r>
            <a:endParaRPr lang="en-US" sz="800" baseline="0" noProof="0" dirty="0">
              <a:solidFill>
                <a:schemeClr val="tx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ltGray">
          <a:xfrm>
            <a:off x="4030876" y="5305595"/>
            <a:ext cx="476971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9" name="doc id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4030876" y="650494"/>
            <a:ext cx="4769711" cy="9848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4030876" y="1887470"/>
            <a:ext cx="4769712" cy="215444"/>
          </a:xfr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0" name="Rectangle 19"/>
          <p:cNvSpPr/>
          <p:nvPr userDrawn="1"/>
        </p:nvSpPr>
        <p:spPr bwMode="ltGray">
          <a:xfrm>
            <a:off x="3175" y="6233824"/>
            <a:ext cx="8958263" cy="4876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ltGray">
          <a:xfrm>
            <a:off x="0" y="6187568"/>
            <a:ext cx="8961438" cy="4571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74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5.xml"/><Relationship Id="rId20" Type="http://schemas.openxmlformats.org/officeDocument/2006/relationships/tags" Target="../tags/tag16.xml"/><Relationship Id="rId21" Type="http://schemas.openxmlformats.org/officeDocument/2006/relationships/tags" Target="../tags/tag17.xml"/><Relationship Id="rId22" Type="http://schemas.openxmlformats.org/officeDocument/2006/relationships/tags" Target="../tags/tag18.xml"/><Relationship Id="rId23" Type="http://schemas.openxmlformats.org/officeDocument/2006/relationships/tags" Target="../tags/tag19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10" Type="http://schemas.openxmlformats.org/officeDocument/2006/relationships/tags" Target="../tags/tag6.xml"/><Relationship Id="rId11" Type="http://schemas.openxmlformats.org/officeDocument/2006/relationships/tags" Target="../tags/tag7.xml"/><Relationship Id="rId12" Type="http://schemas.openxmlformats.org/officeDocument/2006/relationships/tags" Target="../tags/tag8.xml"/><Relationship Id="rId13" Type="http://schemas.openxmlformats.org/officeDocument/2006/relationships/tags" Target="../tags/tag9.xml"/><Relationship Id="rId14" Type="http://schemas.openxmlformats.org/officeDocument/2006/relationships/tags" Target="../tags/tag10.xml"/><Relationship Id="rId15" Type="http://schemas.openxmlformats.org/officeDocument/2006/relationships/tags" Target="../tags/tag11.xml"/><Relationship Id="rId16" Type="http://schemas.openxmlformats.org/officeDocument/2006/relationships/tags" Target="../tags/tag12.xml"/><Relationship Id="rId17" Type="http://schemas.openxmlformats.org/officeDocument/2006/relationships/tags" Target="../tags/tag13.xml"/><Relationship Id="rId18" Type="http://schemas.openxmlformats.org/officeDocument/2006/relationships/tags" Target="../tags/tag14.xml"/><Relationship Id="rId1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1.xml"/><Relationship Id="rId6" Type="http://schemas.openxmlformats.org/officeDocument/2006/relationships/tags" Target="../tags/tag2.xml"/><Relationship Id="rId7" Type="http://schemas.openxmlformats.org/officeDocument/2006/relationships/tags" Target="../tags/tag3.xml"/><Relationship Id="rId8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32371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5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AU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3/2017 4:54 PM W. Austral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74057" y="4114417"/>
            <a:ext cx="16350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Printed 2/27/2017 7:03 AM India Standard Time</a:t>
            </a:r>
            <a:endParaRPr lang="en-US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185145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35048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519908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237755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237755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 Sticker" hidden="1"/>
          <p:cNvGrpSpPr/>
          <p:nvPr/>
        </p:nvGrpSpPr>
        <p:grpSpPr bwMode="auto">
          <a:xfrm>
            <a:off x="8064982" y="237755"/>
            <a:ext cx="725006" cy="150811"/>
            <a:chOff x="8015769" y="285750"/>
            <a:chExt cx="725006" cy="150811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8664954" y="646255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tx1"/>
                </a:solidFill>
              </a:rPr>
              <a:pPr lvl="0"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170608" y="764013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7959558" y="237755"/>
            <a:ext cx="830430" cy="1306516"/>
            <a:chOff x="5428012" y="273840"/>
            <a:chExt cx="830430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3" name="Slide Elements" hidden="1"/>
          <p:cNvGrpSpPr/>
          <p:nvPr/>
        </p:nvGrpSpPr>
        <p:grpSpPr bwMode="auto">
          <a:xfrm>
            <a:off x="171450" y="6276179"/>
            <a:ext cx="7277099" cy="309484"/>
            <a:chOff x="171451" y="6321899"/>
            <a:chExt cx="7200000" cy="309484"/>
          </a:xfrm>
        </p:grpSpPr>
        <p:sp>
          <p:nvSpPr>
            <p:cNvPr id="89" name="4. Footnote"/>
            <p:cNvSpPr txBox="1">
              <a:spLocks noChangeArrowheads="1"/>
            </p:cNvSpPr>
            <p:nvPr/>
          </p:nvSpPr>
          <p:spPr bwMode="auto">
            <a:xfrm>
              <a:off x="171451" y="6321899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90" name="5. Source"/>
            <p:cNvSpPr>
              <a:spLocks noChangeArrowheads="1"/>
            </p:cNvSpPr>
            <p:nvPr/>
          </p:nvSpPr>
          <p:spPr bwMode="auto">
            <a:xfrm>
              <a:off x="171451" y="6508272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09575" indent="-409575" defTabSz="895350">
                <a:tabLst>
                  <a:tab pos="409575" algn="l"/>
                </a:tabLst>
              </a:pPr>
              <a:r>
                <a:rPr lang="x-none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62" name="Rectangle 61"/>
          <p:cNvSpPr/>
          <p:nvPr/>
        </p:nvSpPr>
        <p:spPr bwMode="auto">
          <a:xfrm>
            <a:off x="0" y="6674787"/>
            <a:ext cx="8961438" cy="45719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4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accent3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Relationship Id="rId3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3.xml"/><Relationship Id="rId3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4" Type="http://schemas.openxmlformats.org/officeDocument/2006/relationships/chart" Target="../charts/chart7.xml"/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4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4" Type="http://schemas.openxmlformats.org/officeDocument/2006/relationships/chart" Target="../charts/chart13.xml"/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pPr algn="just"/>
            <a:r>
              <a:rPr lang="en-GB" sz="1200" b="1" dirty="0"/>
              <a:t>With a estimated </a:t>
            </a:r>
            <a:r>
              <a:rPr lang="en-GB" sz="1200" b="1" dirty="0" smtClean="0"/>
              <a:t>22.03</a:t>
            </a:r>
            <a:r>
              <a:rPr lang="en-GB" sz="1200" b="1" dirty="0" smtClean="0"/>
              <a:t>% </a:t>
            </a:r>
            <a:r>
              <a:rPr lang="en-GB" sz="1200" b="1" dirty="0"/>
              <a:t>reduction in Surjek’s Revenues (</a:t>
            </a:r>
            <a:r>
              <a:rPr lang="en-GB" sz="1200" b="1" dirty="0" smtClean="0"/>
              <a:t>$</a:t>
            </a:r>
            <a:r>
              <a:rPr lang="en-GB" sz="1200" b="1" dirty="0" smtClean="0"/>
              <a:t>202</a:t>
            </a:r>
            <a:r>
              <a:rPr lang="en-GB" sz="1200" b="1" dirty="0"/>
              <a:t> </a:t>
            </a:r>
            <a:r>
              <a:rPr lang="en-GB" sz="1200" b="1" dirty="0" smtClean="0"/>
              <a:t>M</a:t>
            </a:r>
            <a:r>
              <a:rPr lang="en-GB" sz="1200" b="1" dirty="0"/>
              <a:t>) due to the Maintenance Outage, Quarter </a:t>
            </a:r>
            <a:r>
              <a:rPr lang="en-GB" sz="1200" b="1" dirty="0" smtClean="0"/>
              <a:t>4 </a:t>
            </a:r>
            <a:r>
              <a:rPr lang="en-GB" sz="1200" b="1" dirty="0"/>
              <a:t>presents the best balance of revenue-loss mitigation with respect to market pricing, as opposed to Quarter </a:t>
            </a:r>
            <a:r>
              <a:rPr lang="en-GB" sz="1200" b="1" dirty="0" smtClean="0"/>
              <a:t>1 </a:t>
            </a:r>
            <a:r>
              <a:rPr lang="en-GB" sz="1200" b="1" dirty="0"/>
              <a:t>which represents the highest demand </a:t>
            </a:r>
            <a:r>
              <a:rPr lang="en-GB" sz="1200" b="1" dirty="0" smtClean="0"/>
              <a:t>(</a:t>
            </a:r>
            <a:r>
              <a:rPr lang="en-GB" sz="1200" b="1" dirty="0" smtClean="0"/>
              <a:t>2,273</a:t>
            </a:r>
            <a:r>
              <a:rPr lang="en-GB" sz="1200" b="1" dirty="0" smtClean="0"/>
              <a:t> </a:t>
            </a:r>
            <a:r>
              <a:rPr lang="en-GB" sz="1200" b="1" dirty="0"/>
              <a:t>GL) and Water Balancing Market Prices </a:t>
            </a:r>
            <a:r>
              <a:rPr lang="en-GB" sz="1200" b="1" dirty="0" smtClean="0"/>
              <a:t>($84.84</a:t>
            </a:r>
            <a:r>
              <a:rPr lang="en-GB" sz="1200" b="1" dirty="0" smtClean="0"/>
              <a:t>)</a:t>
            </a:r>
            <a:r>
              <a:rPr lang="en-GB" sz="1200" b="1" dirty="0"/>
              <a:t>.</a:t>
            </a:r>
            <a:endParaRPr lang="en-AU" sz="12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5D26C0C-ABE4-436D-9169-215E6A514CFF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0500-000006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7870330"/>
              </p:ext>
            </p:extLst>
          </p:nvPr>
        </p:nvGraphicFramePr>
        <p:xfrm>
          <a:off x="167814" y="1083730"/>
          <a:ext cx="4276894" cy="4936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0500-000007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1276235"/>
              </p:ext>
            </p:extLst>
          </p:nvPr>
        </p:nvGraphicFramePr>
        <p:xfrm>
          <a:off x="4397674" y="1316955"/>
          <a:ext cx="4422662" cy="5126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8477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r>
              <a:rPr lang="en-GB" sz="1200" b="1" dirty="0"/>
              <a:t>Of the three Desalination Plants, all three remain profitable at current market prices by a favourable margin; </a:t>
            </a:r>
            <a:r>
              <a:rPr lang="en-GB" sz="1200" b="1" dirty="0" smtClean="0"/>
              <a:t>Clearly </a:t>
            </a:r>
            <a:r>
              <a:rPr lang="en-GB" sz="1200" b="1" dirty="0" err="1" smtClean="0"/>
              <a:t>Kootha</a:t>
            </a:r>
            <a:r>
              <a:rPr lang="en-GB" sz="1200" b="1" dirty="0" smtClean="0"/>
              <a:t> is </a:t>
            </a:r>
            <a:r>
              <a:rPr lang="en-GB" sz="1200" b="1" dirty="0"/>
              <a:t>the most cost-effective </a:t>
            </a:r>
            <a:r>
              <a:rPr lang="en-GB" sz="1200" b="1" dirty="0" smtClean="0"/>
              <a:t>($</a:t>
            </a:r>
            <a:r>
              <a:rPr lang="en-GB" sz="1200" b="1" dirty="0" smtClean="0"/>
              <a:t>25</a:t>
            </a:r>
            <a:r>
              <a:rPr lang="en-GB" sz="1200" b="1" dirty="0" smtClean="0"/>
              <a:t>/ML), </a:t>
            </a:r>
            <a:r>
              <a:rPr lang="en-GB" sz="1200" b="1" dirty="0"/>
              <a:t>followed </a:t>
            </a:r>
            <a:r>
              <a:rPr lang="en-GB" sz="1200" b="1" dirty="0" smtClean="0"/>
              <a:t>by </a:t>
            </a:r>
            <a:r>
              <a:rPr lang="en-GB" sz="1200" b="1" dirty="0" err="1" smtClean="0"/>
              <a:t>Jutik</a:t>
            </a:r>
            <a:r>
              <a:rPr lang="en-GB" sz="1200" b="1" dirty="0" smtClean="0"/>
              <a:t> </a:t>
            </a:r>
            <a:r>
              <a:rPr lang="en-GB" sz="1200" b="1" dirty="0"/>
              <a:t>(</a:t>
            </a:r>
            <a:r>
              <a:rPr lang="en-GB" sz="1200" b="1" dirty="0" smtClean="0"/>
              <a:t>$</a:t>
            </a:r>
            <a:r>
              <a:rPr lang="en-GB" sz="1200" b="1" dirty="0" smtClean="0"/>
              <a:t>35.80</a:t>
            </a:r>
            <a:r>
              <a:rPr lang="en-GB" sz="1200" b="1" dirty="0" smtClean="0"/>
              <a:t>/</a:t>
            </a:r>
            <a:r>
              <a:rPr lang="en-GB" sz="1200" b="1" dirty="0"/>
              <a:t>ML) and lastly </a:t>
            </a:r>
            <a:r>
              <a:rPr lang="en-GB" sz="1200" b="1" dirty="0" err="1" smtClean="0"/>
              <a:t>Surjek</a:t>
            </a:r>
            <a:r>
              <a:rPr lang="en-GB" sz="1200" b="1" dirty="0" smtClean="0"/>
              <a:t> </a:t>
            </a:r>
            <a:r>
              <a:rPr lang="en-GB" sz="1200" b="1" dirty="0"/>
              <a:t>(</a:t>
            </a:r>
            <a:r>
              <a:rPr lang="en-GB" sz="1200" b="1" dirty="0" smtClean="0"/>
              <a:t>$</a:t>
            </a:r>
            <a:r>
              <a:rPr lang="en-GB" sz="1200" b="1" dirty="0" smtClean="0"/>
              <a:t>54.23</a:t>
            </a:r>
            <a:r>
              <a:rPr lang="en-GB" sz="1200" b="1" dirty="0" smtClean="0"/>
              <a:t>/</a:t>
            </a:r>
            <a:r>
              <a:rPr lang="en-GB" sz="1200" b="1" dirty="0"/>
              <a:t>ML) which is consistent across the July-2013 to June-2014 period. </a:t>
            </a:r>
            <a:endParaRPr lang="en-AU" sz="1200" b="1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8F01DE78-159E-4563-BC40-E7848615A3AD}"/>
              </a:ext>
            </a:extLst>
          </p:cNvPr>
          <p:cNvCxnSpPr/>
          <p:nvPr/>
        </p:nvCxnSpPr>
        <p:spPr>
          <a:xfrm>
            <a:off x="171451" y="89469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8F44ACDA-108B-4BDB-86DA-9221DFA22C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1967357"/>
              </p:ext>
            </p:extLst>
          </p:nvPr>
        </p:nvGraphicFramePr>
        <p:xfrm>
          <a:off x="5620555" y="905407"/>
          <a:ext cx="3055285" cy="5526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0400-000006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55296319"/>
              </p:ext>
            </p:extLst>
          </p:nvPr>
        </p:nvGraphicFramePr>
        <p:xfrm>
          <a:off x="194139" y="1022993"/>
          <a:ext cx="5391143" cy="5303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6765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553998"/>
          </a:xfrm>
        </p:spPr>
        <p:txBody>
          <a:bodyPr/>
          <a:lstStyle/>
          <a:p>
            <a:pPr algn="just"/>
            <a:r>
              <a:rPr lang="en-GB" sz="1200" b="1" dirty="0"/>
              <a:t>Contrasting the Cost to Produce against the Volume of Water Produced highlights clear </a:t>
            </a:r>
            <a:r>
              <a:rPr lang="en-GB" sz="1200" b="1" i="1" dirty="0"/>
              <a:t>&lt;what economic principles indicates costs declining with volume?&gt;</a:t>
            </a:r>
            <a:r>
              <a:rPr lang="en-GB" sz="1200" b="1" dirty="0"/>
              <a:t> with costs rapidly dwindling across all plants as volume surges, with this being particularly noticeable across the Kootha and Surjek Plants with costs dropping as much as 50%.  </a:t>
            </a:r>
            <a:endParaRPr lang="en-AU" sz="12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0400-00000F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7490804"/>
              </p:ext>
            </p:extLst>
          </p:nvPr>
        </p:nvGraphicFramePr>
        <p:xfrm>
          <a:off x="207535" y="1022993"/>
          <a:ext cx="2579227" cy="5150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0400-00000D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5977873"/>
              </p:ext>
            </p:extLst>
          </p:nvPr>
        </p:nvGraphicFramePr>
        <p:xfrm>
          <a:off x="2759607" y="1058268"/>
          <a:ext cx="3284255" cy="5103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0400-00000E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5771835"/>
              </p:ext>
            </p:extLst>
          </p:nvPr>
        </p:nvGraphicFramePr>
        <p:xfrm>
          <a:off x="6008587" y="1093544"/>
          <a:ext cx="2736644" cy="5009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844286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Drilling down further from a product-perspective, reveals two different patterns of elasticity where</a:t>
            </a:r>
            <a:br>
              <a:rPr lang="en-GB" sz="1400" b="1" dirty="0"/>
            </a:br>
            <a:r>
              <a:rPr lang="en-GB" sz="1400" b="1" dirty="0" smtClean="0"/>
              <a:t>Hard Water tends </a:t>
            </a:r>
            <a:r>
              <a:rPr lang="en-GB" sz="1400" b="1" dirty="0"/>
              <a:t>to be relatively price </a:t>
            </a:r>
            <a:r>
              <a:rPr lang="en-GB" sz="1400" b="1" dirty="0" smtClean="0"/>
              <a:t>inelastic </a:t>
            </a:r>
            <a:r>
              <a:rPr lang="en-GB" sz="1400" b="1" dirty="0"/>
              <a:t>regardless of quantity purchased, whilst </a:t>
            </a:r>
            <a:r>
              <a:rPr lang="en-GB" sz="1400" b="1" dirty="0" smtClean="0"/>
              <a:t>Soft Water </a:t>
            </a:r>
            <a:r>
              <a:rPr lang="en-GB" sz="1400" b="1" dirty="0"/>
              <a:t>is more representative of an </a:t>
            </a:r>
            <a:r>
              <a:rPr lang="en-GB" sz="1400" b="1" dirty="0" smtClean="0"/>
              <a:t>inelastic </a:t>
            </a:r>
            <a:r>
              <a:rPr lang="en-GB" sz="1400" b="1" dirty="0"/>
              <a:t>price-to-volume relationship.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03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295590"/>
              </p:ext>
            </p:extLst>
          </p:nvPr>
        </p:nvGraphicFramePr>
        <p:xfrm>
          <a:off x="5710507" y="1093544"/>
          <a:ext cx="2931982" cy="5338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0300-000009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2202188"/>
              </p:ext>
            </p:extLst>
          </p:nvPr>
        </p:nvGraphicFramePr>
        <p:xfrm>
          <a:off x="289844" y="1128819"/>
          <a:ext cx="2449884" cy="53148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0300-000007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6665134"/>
              </p:ext>
            </p:extLst>
          </p:nvPr>
        </p:nvGraphicFramePr>
        <p:xfrm>
          <a:off x="2712092" y="1152337"/>
          <a:ext cx="2955498" cy="5291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34358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0E37C96-13BD-4F0C-B379-77591A183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1" y="185145"/>
            <a:ext cx="8737599" cy="646331"/>
          </a:xfrm>
        </p:spPr>
        <p:txBody>
          <a:bodyPr/>
          <a:lstStyle/>
          <a:p>
            <a:pPr algn="just"/>
            <a:r>
              <a:rPr lang="en-GB" sz="1400" b="1" dirty="0"/>
              <a:t>Lastly, when viewing the economic pricing data from an micro-perspective, it is indicative </a:t>
            </a:r>
            <a:r>
              <a:rPr lang="en-GB" sz="1400" b="1" dirty="0" smtClean="0"/>
              <a:t>that </a:t>
            </a:r>
            <a:r>
              <a:rPr lang="en-GB" sz="1400" b="1" dirty="0"/>
              <a:t>Soft </a:t>
            </a:r>
            <a:r>
              <a:rPr lang="en-GB" sz="1400" b="1" dirty="0" smtClean="0"/>
              <a:t>Water </a:t>
            </a:r>
            <a:r>
              <a:rPr lang="en-GB" sz="1400" b="1" dirty="0"/>
              <a:t>is seen as more of a ‘less core’ product than that of </a:t>
            </a:r>
            <a:r>
              <a:rPr lang="en-GB" sz="1400" b="1" dirty="0" smtClean="0"/>
              <a:t>Hard </a:t>
            </a:r>
            <a:r>
              <a:rPr lang="en-GB" sz="1400" b="1" dirty="0"/>
              <a:t>Water </a:t>
            </a:r>
            <a:r>
              <a:rPr lang="en-GB" sz="1400" b="1" dirty="0" smtClean="0"/>
              <a:t>whose </a:t>
            </a:r>
            <a:r>
              <a:rPr lang="en-GB" sz="1400" b="1" dirty="0"/>
              <a:t>price remains largely </a:t>
            </a:r>
            <a:r>
              <a:rPr lang="en-GB" sz="1400" b="1" dirty="0" smtClean="0"/>
              <a:t>inflexible. </a:t>
            </a:r>
            <a:endParaRPr lang="en-AU" sz="1400" b="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5D26C0C-ABE4-436D-9169-215E6A514CFF}"/>
              </a:ext>
            </a:extLst>
          </p:cNvPr>
          <p:cNvCxnSpPr/>
          <p:nvPr/>
        </p:nvCxnSpPr>
        <p:spPr>
          <a:xfrm>
            <a:off x="171451" y="940918"/>
            <a:ext cx="84391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0300-00000A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1686191"/>
              </p:ext>
            </p:extLst>
          </p:nvPr>
        </p:nvGraphicFramePr>
        <p:xfrm>
          <a:off x="213712" y="987718"/>
          <a:ext cx="3290318" cy="5455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0300-00000B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5072457"/>
              </p:ext>
            </p:extLst>
          </p:nvPr>
        </p:nvGraphicFramePr>
        <p:xfrm>
          <a:off x="3398204" y="1058269"/>
          <a:ext cx="3127758" cy="53854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0300-00000C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4323894"/>
              </p:ext>
            </p:extLst>
          </p:nvPr>
        </p:nvGraphicFramePr>
        <p:xfrm>
          <a:off x="6443651" y="1093545"/>
          <a:ext cx="2402829" cy="5408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677186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1_Synergy_CF_YNR013">
  <a:themeElements>
    <a:clrScheme name="Current">
      <a:dk1>
        <a:srgbClr val="000000"/>
      </a:dk1>
      <a:lt1>
        <a:srgbClr val="FFFFFF"/>
      </a:lt1>
      <a:dk2>
        <a:srgbClr val="FBC14E"/>
      </a:dk2>
      <a:lt2>
        <a:srgbClr val="FFFFFF"/>
      </a:lt2>
      <a:accent1>
        <a:srgbClr val="99AABE"/>
      </a:accent1>
      <a:accent2>
        <a:srgbClr val="406085"/>
      </a:accent2>
      <a:accent3>
        <a:srgbClr val="002C46"/>
      </a:accent3>
      <a:accent4>
        <a:srgbClr val="FBC14E"/>
      </a:accent4>
      <a:accent5>
        <a:srgbClr val="379BBD"/>
      </a:accent5>
      <a:accent6>
        <a:srgbClr val="808080"/>
      </a:accent6>
      <a:hlink>
        <a:srgbClr val="002C46"/>
      </a:hlink>
      <a:folHlink>
        <a:srgbClr val="FBC14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BC14E"/>
        </a:dk2>
        <a:lt2>
          <a:srgbClr val="FFFFFF"/>
        </a:lt2>
        <a:accent1>
          <a:srgbClr val="99AABE"/>
        </a:accent1>
        <a:accent2>
          <a:srgbClr val="406085"/>
        </a:accent2>
        <a:accent3>
          <a:srgbClr val="002C46"/>
        </a:accent3>
        <a:accent4>
          <a:srgbClr val="FBC14E"/>
        </a:accent4>
        <a:accent5>
          <a:srgbClr val="379BBD"/>
        </a:accent5>
        <a:accent6>
          <a:srgbClr val="808080"/>
        </a:accent6>
        <a:hlink>
          <a:srgbClr val="002C46"/>
        </a:hlink>
        <a:folHlink>
          <a:srgbClr val="FBC14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Synergy_CF_YNR013.potx" id="{5B0B8770-4875-4F3D-A851-ED2332DB7D84}" vid="{3E5BE603-DDA9-4662-BF9D-F22E864491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628</TotalTime>
  <Words>362</Words>
  <Application>Microsoft Macintosh PowerPoint</Application>
  <PresentationFormat>Custom</PresentationFormat>
  <Paragraphs>21</Paragraphs>
  <Slides>5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1_Synergy_CF_YNR013</vt:lpstr>
      <vt:lpstr>think-cell Slide</vt:lpstr>
      <vt:lpstr>With a estimated 22.03% reduction in Surjek’s Revenues ($202 M) due to the Maintenance Outage, Quarter 4 presents the best balance of revenue-loss mitigation with respect to market pricing, as opposed to Quarter 1 which represents the highest demand (2,273 GL) and Water Balancing Market Prices ($84.84).</vt:lpstr>
      <vt:lpstr>Of the three Desalination Plants, all three remain profitable at current market prices by a favourable margin; Clearly Kootha is the most cost-effective ($25/ML), followed by Jutik ($35.80/ML) and lastly Surjek ($54.23/ML) which is consistent across the July-2013 to June-2014 period. </vt:lpstr>
      <vt:lpstr>Contrasting the Cost to Produce against the Volume of Water Produced highlights clear &lt;what economic principles indicates costs declining with volume?&gt; with costs rapidly dwindling across all plants as volume surges, with this being particularly noticeable across the Kootha and Surjek Plants with costs dropping as much as 50%.  </vt:lpstr>
      <vt:lpstr>Drilling down further from a product-perspective, reveals two different patterns of elasticity where Hard Water tends to be relatively price inelastic regardless of quantity purchased, whilst Soft Water is more representative of an inelastic price-to-volume relationship.</vt:lpstr>
      <vt:lpstr>Lastly, when viewing the economic pricing data from an micro-perspective, it is indicative that Soft Water is seen as more of a ‘less core’ product than that of Hard Water whose price remains largely inflexible.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rough focusing our efforts on the units with the majority of questions; we can be confident that we are improving the overall User Experience etc.</dc:title>
  <dc:creator>Christopher H</dc:creator>
  <cp:lastModifiedBy>Samuel Prince</cp:lastModifiedBy>
  <cp:revision>81</cp:revision>
  <dcterms:created xsi:type="dcterms:W3CDTF">2020-04-12T13:23:13Z</dcterms:created>
  <dcterms:modified xsi:type="dcterms:W3CDTF">2021-06-26T00:24:50Z</dcterms:modified>
</cp:coreProperties>
</file>